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59" r:id="rId1"/>
  </p:sldMasterIdLst>
  <p:notesMasterIdLst>
    <p:notesMasterId r:id="rId4"/>
  </p:notesMasterIdLst>
  <p:handoutMasterIdLst>
    <p:handoutMasterId r:id="rId5"/>
  </p:handoutMasterIdLst>
  <p:sldIdLst>
    <p:sldId id="1787" r:id="rId2"/>
    <p:sldId id="706" r:id="rId3"/>
  </p:sldIdLst>
  <p:sldSz cx="12192000" cy="6858000"/>
  <p:notesSz cx="7315200" cy="96012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4B9F51E4-EF31-46E8-85F5-297F0CCC6673}">
          <p14:sldIdLst>
            <p14:sldId id="1787"/>
            <p14:sldId id="706"/>
          </p14:sldIdLst>
        </p14:section>
      </p14:sectionLst>
    </p:ex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D00"/>
    <a:srgbClr val="37C4FF"/>
    <a:srgbClr val="194955"/>
    <a:srgbClr val="046A38"/>
    <a:srgbClr val="62B5E5"/>
    <a:srgbClr val="575757"/>
    <a:srgbClr val="DB291C"/>
    <a:srgbClr val="0076A8"/>
    <a:srgbClr val="3C8A2E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984" autoAdjust="0"/>
  </p:normalViewPr>
  <p:slideViewPr>
    <p:cSldViewPr snapToGrid="0" showGuides="1">
      <p:cViewPr varScale="1">
        <p:scale>
          <a:sx n="110" d="100"/>
          <a:sy n="110" d="100"/>
        </p:scale>
        <p:origin x="576" y="102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27" d="100"/>
          <a:sy n="27" d="100"/>
        </p:scale>
        <p:origin x="2148" y="6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1/15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1/15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338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703559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5114869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3414386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7895528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11884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5954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394834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64963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4628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53007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6008983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3301616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904550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5659852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423802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AI Capstone Project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an McLennan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Consulting LLP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9119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3816" r:id="rId3"/>
    <p:sldLayoutId id="2147483817" r:id="rId4"/>
    <p:sldLayoutId id="2147484067" r:id="rId5"/>
    <p:sldLayoutId id="2147484072" r:id="rId6"/>
    <p:sldLayoutId id="2147484074" r:id="rId7"/>
    <p:sldLayoutId id="2147484075" r:id="rId8"/>
    <p:sldLayoutId id="2147484078" r:id="rId9"/>
    <p:sldLayoutId id="2147484086" r:id="rId10"/>
    <p:sldLayoutId id="2147484087" r:id="rId11"/>
    <p:sldLayoutId id="2147484088" r:id="rId12"/>
    <p:sldLayoutId id="2147484105" r:id="rId13"/>
    <p:sldLayoutId id="2147484091" r:id="rId1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0" orient="horz" pos="4081">
          <p15:clr>
            <a:srgbClr val="F26B43"/>
          </p15:clr>
        </p15:guide>
        <p15:guide id="46" orient="horz" pos="4020" userDrawn="1">
          <p15:clr>
            <a:srgbClr val="F26B43"/>
          </p15:clr>
        </p15:guide>
        <p15:guide id="51" orient="horz" pos="4080" userDrawn="1">
          <p15:clr>
            <a:srgbClr val="F26B43"/>
          </p15:clr>
        </p15:guide>
        <p15:guide id="52" pos="3840" userDrawn="1">
          <p15:clr>
            <a:srgbClr val="F26B43"/>
          </p15:clr>
        </p15:guide>
        <p15:guide id="53" pos="3912" userDrawn="1">
          <p15:clr>
            <a:srgbClr val="F26B43"/>
          </p15:clr>
        </p15:guide>
        <p15:guide id="54" pos="3768" userDrawn="1">
          <p15:clr>
            <a:srgbClr val="F26B43"/>
          </p15:clr>
        </p15:guide>
        <p15:guide id="55" pos="4968" userDrawn="1">
          <p15:clr>
            <a:srgbClr val="F26B43"/>
          </p15:clr>
        </p15:guide>
        <p15:guide id="56" pos="5088" userDrawn="1">
          <p15:clr>
            <a:srgbClr val="F26B43"/>
          </p15:clr>
        </p15:guide>
        <p15:guide id="57" pos="6168" userDrawn="1">
          <p15:clr>
            <a:srgbClr val="F26B43"/>
          </p15:clr>
        </p15:guide>
        <p15:guide id="58" pos="6288" userDrawn="1">
          <p15:clr>
            <a:srgbClr val="F26B43"/>
          </p15:clr>
        </p15:guide>
        <p15:guide id="59" pos="2712" userDrawn="1">
          <p15:clr>
            <a:srgbClr val="F26B43"/>
          </p15:clr>
        </p15:guide>
        <p15:guide id="60" pos="2592" userDrawn="1">
          <p15:clr>
            <a:srgbClr val="F26B43"/>
          </p15:clr>
        </p15:guide>
        <p15:guide id="61" pos="1512" userDrawn="1">
          <p15:clr>
            <a:srgbClr val="F26B43"/>
          </p15:clr>
        </p15:guide>
        <p15:guide id="62" pos="1392" userDrawn="1">
          <p15:clr>
            <a:srgbClr val="F26B43"/>
          </p15:clr>
        </p15:guide>
        <p15:guide id="63" pos="312" userDrawn="1">
          <p15:clr>
            <a:srgbClr val="F26B43"/>
          </p15:clr>
        </p15:guide>
        <p15:guide id="64" orient="horz" pos="1056" userDrawn="1">
          <p15:clr>
            <a:srgbClr val="F26B43"/>
          </p15:clr>
        </p15:guide>
        <p15:guide id="65" orient="horz" pos="2232" userDrawn="1">
          <p15:clr>
            <a:srgbClr val="F26B43"/>
          </p15:clr>
        </p15:guide>
        <p15:guide id="66" orient="horz" pos="1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CCAB432B-E0E7-4F80-A4A1-76DCDC1FBF7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" r="15"/>
          <a:stretch>
            <a:fillRect/>
          </a:stretch>
        </p:blipFill>
        <p:spPr/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C2F03B24-5911-487D-A541-83315BB92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1" y="5186207"/>
            <a:ext cx="4888955" cy="895983"/>
          </a:xfrm>
        </p:spPr>
        <p:txBody>
          <a:bodyPr/>
          <a:lstStyle/>
          <a:p>
            <a:r>
              <a:rPr lang="en-US" dirty="0"/>
              <a:t>Statement of Interest Generator | Capstone Projec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207E-7FD3-4B75-ADFE-CC565F8DB8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US" dirty="0"/>
              <a:t>11/21/23 Ian McLennan GenAI Train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9154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eloitte Internal Tool</a:t>
            </a:r>
          </a:p>
        </p:txBody>
      </p:sp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Statement of Interest Generator</a:t>
            </a:r>
            <a:endParaRPr lang="en-US" dirty="0"/>
          </a:p>
        </p:txBody>
      </p:sp>
      <p:sp>
        <p:nvSpPr>
          <p:cNvPr id="46" name="Freeform 45"/>
          <p:cNvSpPr/>
          <p:nvPr/>
        </p:nvSpPr>
        <p:spPr bwMode="gray">
          <a:xfrm>
            <a:off x="1908256" y="1548144"/>
            <a:ext cx="2205031" cy="217283"/>
          </a:xfrm>
          <a:custGeom>
            <a:avLst/>
            <a:gdLst>
              <a:gd name="connsiteX0" fmla="*/ 2127564 w 2127564"/>
              <a:gd name="connsiteY0" fmla="*/ 217283 h 217283"/>
              <a:gd name="connsiteX1" fmla="*/ 1765425 w 2127564"/>
              <a:gd name="connsiteY1" fmla="*/ 0 h 217283"/>
              <a:gd name="connsiteX2" fmla="*/ 0 w 2127564"/>
              <a:gd name="connsiteY2" fmla="*/ 0 h 21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27564" h="217283">
                <a:moveTo>
                  <a:pt x="2127564" y="217283"/>
                </a:moveTo>
                <a:lnTo>
                  <a:pt x="1765425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rgbClr val="BBBCBC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908255" y="1580937"/>
            <a:ext cx="1828800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When applying for projects at Deloitte, you must fill out a brief “Statement of Interest” for each project ro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To maximize your chance of success, you should tailor your application for each role and skills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For someone who struggles to “brag” about themselves, this statement of interest can be difficult to do repetitively</a:t>
            </a:r>
          </a:p>
        </p:txBody>
      </p:sp>
      <p:sp>
        <p:nvSpPr>
          <p:cNvPr id="60" name="Rectangle 59"/>
          <p:cNvSpPr/>
          <p:nvPr/>
        </p:nvSpPr>
        <p:spPr>
          <a:xfrm>
            <a:off x="1908255" y="1377732"/>
            <a:ext cx="18288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000" b="1" dirty="0">
                <a:solidFill>
                  <a:schemeClr val="accent3"/>
                </a:solidFill>
              </a:rPr>
              <a:t>Problem Statement</a:t>
            </a:r>
            <a:endParaRPr lang="en-US" sz="800" dirty="0">
              <a:solidFill>
                <a:schemeClr val="accent3"/>
              </a:solidFill>
            </a:endParaRPr>
          </a:p>
        </p:txBody>
      </p:sp>
      <p:sp>
        <p:nvSpPr>
          <p:cNvPr id="61" name="Freeform 60"/>
          <p:cNvSpPr/>
          <p:nvPr/>
        </p:nvSpPr>
        <p:spPr bwMode="gray">
          <a:xfrm flipH="1">
            <a:off x="8035570" y="1711225"/>
            <a:ext cx="2205031" cy="217283"/>
          </a:xfrm>
          <a:custGeom>
            <a:avLst/>
            <a:gdLst>
              <a:gd name="connsiteX0" fmla="*/ 2127564 w 2127564"/>
              <a:gd name="connsiteY0" fmla="*/ 217283 h 217283"/>
              <a:gd name="connsiteX1" fmla="*/ 1765425 w 2127564"/>
              <a:gd name="connsiteY1" fmla="*/ 0 h 217283"/>
              <a:gd name="connsiteX2" fmla="*/ 0 w 2127564"/>
              <a:gd name="connsiteY2" fmla="*/ 0 h 21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27564" h="217283">
                <a:moveTo>
                  <a:pt x="2127564" y="217283"/>
                </a:moveTo>
                <a:lnTo>
                  <a:pt x="1765425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rgbClr val="BBBCBC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8411800" y="1744018"/>
            <a:ext cx="1828800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This application allows users to input their skills and experience and receive a generated response that is designed specifically for the project ro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This application utilizes the locally run Llama 2 model to generate a text output based on your parameters and the details you input</a:t>
            </a:r>
          </a:p>
        </p:txBody>
      </p:sp>
      <p:sp>
        <p:nvSpPr>
          <p:cNvPr id="63" name="Rectangle 62"/>
          <p:cNvSpPr/>
          <p:nvPr/>
        </p:nvSpPr>
        <p:spPr>
          <a:xfrm>
            <a:off x="8411800" y="1540813"/>
            <a:ext cx="18288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000" b="1" dirty="0">
                <a:solidFill>
                  <a:schemeClr val="accent1"/>
                </a:solidFill>
              </a:rPr>
              <a:t>Solution Overview</a:t>
            </a:r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64" name="Freeform 63"/>
          <p:cNvSpPr/>
          <p:nvPr/>
        </p:nvSpPr>
        <p:spPr bwMode="gray">
          <a:xfrm flipV="1">
            <a:off x="1908256" y="5145359"/>
            <a:ext cx="2205031" cy="217283"/>
          </a:xfrm>
          <a:custGeom>
            <a:avLst/>
            <a:gdLst>
              <a:gd name="connsiteX0" fmla="*/ 2127564 w 2127564"/>
              <a:gd name="connsiteY0" fmla="*/ 217283 h 217283"/>
              <a:gd name="connsiteX1" fmla="*/ 1765425 w 2127564"/>
              <a:gd name="connsiteY1" fmla="*/ 0 h 217283"/>
              <a:gd name="connsiteX2" fmla="*/ 0 w 2127564"/>
              <a:gd name="connsiteY2" fmla="*/ 0 h 21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27564" h="217283">
                <a:moveTo>
                  <a:pt x="2127564" y="217283"/>
                </a:moveTo>
                <a:lnTo>
                  <a:pt x="1765425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rgbClr val="BBBCBC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908255" y="5393813"/>
            <a:ext cx="18288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Language: Pyth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User Interface: </a:t>
            </a:r>
            <a:r>
              <a:rPr lang="en-US" sz="1000" dirty="0" err="1"/>
              <a:t>Streamlit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LLM Framework: Llama 2</a:t>
            </a:r>
          </a:p>
        </p:txBody>
      </p:sp>
      <p:sp>
        <p:nvSpPr>
          <p:cNvPr id="66" name="Rectangle 65"/>
          <p:cNvSpPr/>
          <p:nvPr/>
        </p:nvSpPr>
        <p:spPr>
          <a:xfrm>
            <a:off x="1908255" y="5190608"/>
            <a:ext cx="18288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800" dirty="0">
                <a:solidFill>
                  <a:schemeClr val="accent4"/>
                </a:solidFill>
              </a:rPr>
              <a:t>Tech Stack</a:t>
            </a:r>
          </a:p>
        </p:txBody>
      </p:sp>
      <p:sp>
        <p:nvSpPr>
          <p:cNvPr id="67" name="Freeform 66"/>
          <p:cNvSpPr/>
          <p:nvPr/>
        </p:nvSpPr>
        <p:spPr bwMode="gray">
          <a:xfrm flipH="1" flipV="1">
            <a:off x="8043527" y="5534652"/>
            <a:ext cx="2205031" cy="217283"/>
          </a:xfrm>
          <a:custGeom>
            <a:avLst/>
            <a:gdLst>
              <a:gd name="connsiteX0" fmla="*/ 2127564 w 2127564"/>
              <a:gd name="connsiteY0" fmla="*/ 217283 h 217283"/>
              <a:gd name="connsiteX1" fmla="*/ 1765425 w 2127564"/>
              <a:gd name="connsiteY1" fmla="*/ 0 h 217283"/>
              <a:gd name="connsiteX2" fmla="*/ 0 w 2127564"/>
              <a:gd name="connsiteY2" fmla="*/ 0 h 21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27564" h="217283">
                <a:moveTo>
                  <a:pt x="2127564" y="217283"/>
                </a:moveTo>
                <a:lnTo>
                  <a:pt x="1765425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rgbClr val="BBBCBC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8419757" y="5784148"/>
            <a:ext cx="1828800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Allow for more flexibility in the details you wish for the generator to consid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Stand-alone application available online</a:t>
            </a:r>
          </a:p>
        </p:txBody>
      </p:sp>
      <p:sp>
        <p:nvSpPr>
          <p:cNvPr id="79" name="Rectangle 78"/>
          <p:cNvSpPr/>
          <p:nvPr/>
        </p:nvSpPr>
        <p:spPr>
          <a:xfrm>
            <a:off x="8419757" y="5580943"/>
            <a:ext cx="18288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800" dirty="0">
                <a:solidFill>
                  <a:schemeClr val="accent5"/>
                </a:solidFill>
              </a:rPr>
              <a:t>Further Development</a:t>
            </a:r>
          </a:p>
        </p:txBody>
      </p:sp>
      <p:sp>
        <p:nvSpPr>
          <p:cNvPr id="80" name="Oval 79"/>
          <p:cNvSpPr/>
          <p:nvPr/>
        </p:nvSpPr>
        <p:spPr>
          <a:xfrm>
            <a:off x="6336334" y="1491660"/>
            <a:ext cx="1905337" cy="1905337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1" name="Oval 80"/>
          <p:cNvSpPr>
            <a:spLocks noChangeAspect="1"/>
          </p:cNvSpPr>
          <p:nvPr/>
        </p:nvSpPr>
        <p:spPr>
          <a:xfrm>
            <a:off x="6397474" y="1552800"/>
            <a:ext cx="1783054" cy="1783054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2" name="Oval 81"/>
          <p:cNvSpPr/>
          <p:nvPr/>
        </p:nvSpPr>
        <p:spPr>
          <a:xfrm>
            <a:off x="6275192" y="4136949"/>
            <a:ext cx="1905337" cy="1905337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3" name="Oval 82"/>
          <p:cNvSpPr>
            <a:spLocks noChangeAspect="1"/>
          </p:cNvSpPr>
          <p:nvPr/>
        </p:nvSpPr>
        <p:spPr>
          <a:xfrm>
            <a:off x="6336332" y="4198089"/>
            <a:ext cx="1783054" cy="1783054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4" name="Oval 83"/>
          <p:cNvSpPr/>
          <p:nvPr/>
        </p:nvSpPr>
        <p:spPr>
          <a:xfrm>
            <a:off x="3551813" y="3401008"/>
            <a:ext cx="1905337" cy="1905337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5" name="Oval 84"/>
          <p:cNvSpPr>
            <a:spLocks noChangeAspect="1"/>
          </p:cNvSpPr>
          <p:nvPr/>
        </p:nvSpPr>
        <p:spPr>
          <a:xfrm>
            <a:off x="3612953" y="3462148"/>
            <a:ext cx="1783054" cy="178305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6" name="Oval 85"/>
          <p:cNvSpPr/>
          <p:nvPr/>
        </p:nvSpPr>
        <p:spPr>
          <a:xfrm>
            <a:off x="4003859" y="1255571"/>
            <a:ext cx="1905337" cy="1905337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7" name="Oval 86"/>
          <p:cNvSpPr>
            <a:spLocks noChangeAspect="1"/>
          </p:cNvSpPr>
          <p:nvPr/>
        </p:nvSpPr>
        <p:spPr>
          <a:xfrm>
            <a:off x="4065000" y="1316712"/>
            <a:ext cx="1783054" cy="1783054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88" name="Oval 87"/>
          <p:cNvSpPr/>
          <p:nvPr/>
        </p:nvSpPr>
        <p:spPr>
          <a:xfrm>
            <a:off x="4569435" y="2152819"/>
            <a:ext cx="3054010" cy="305401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9" name="Oval 88"/>
          <p:cNvSpPr>
            <a:spLocks noChangeAspect="1"/>
          </p:cNvSpPr>
          <p:nvPr/>
        </p:nvSpPr>
        <p:spPr>
          <a:xfrm>
            <a:off x="4667323" y="2239566"/>
            <a:ext cx="2858007" cy="2858007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5169575" y="2525664"/>
            <a:ext cx="2007085" cy="230832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Outcomes and Relevance</a:t>
            </a:r>
            <a:endParaRPr lang="en-US" sz="10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The application can take the user’s key skills and experience and returns a statement of interest that is tailored to the project role provid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The user has options of what style the statement is written in (neutral, excited, over-the-top bragging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This will save time and allow for Deloitte professionals on the bench to maximize their outreach to project leadershi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3" name="Graphic 4">
            <a:extLst>
              <a:ext uri="{FF2B5EF4-FFF2-40B4-BE49-F238E27FC236}">
                <a16:creationId xmlns:a16="http://schemas.microsoft.com/office/drawing/2014/main" id="{DCE42EA0-D448-D361-75CD-16CDE1869A82}"/>
              </a:ext>
            </a:extLst>
          </p:cNvPr>
          <p:cNvGrpSpPr>
            <a:grpSpLocks noChangeAspect="1"/>
          </p:cNvGrpSpPr>
          <p:nvPr/>
        </p:nvGrpSpPr>
        <p:grpSpPr>
          <a:xfrm>
            <a:off x="4558747" y="1711225"/>
            <a:ext cx="721299" cy="720620"/>
            <a:chOff x="8840477" y="3339623"/>
            <a:chExt cx="362312" cy="361971"/>
          </a:xfrm>
          <a:solidFill>
            <a:schemeClr val="bg1"/>
          </a:solidFill>
        </p:grpSpPr>
        <p:sp>
          <p:nvSpPr>
            <p:cNvPr id="4" name="Graphic 4">
              <a:extLst>
                <a:ext uri="{FF2B5EF4-FFF2-40B4-BE49-F238E27FC236}">
                  <a16:creationId xmlns:a16="http://schemas.microsoft.com/office/drawing/2014/main" id="{5E6DC2B2-DD12-89BD-D3E1-E3666EEB6112}"/>
                </a:ext>
              </a:extLst>
            </p:cNvPr>
            <p:cNvSpPr/>
            <p:nvPr/>
          </p:nvSpPr>
          <p:spPr>
            <a:xfrm>
              <a:off x="8840477" y="3339623"/>
              <a:ext cx="362312" cy="361971"/>
            </a:xfrm>
            <a:custGeom>
              <a:avLst/>
              <a:gdLst>
                <a:gd name="connsiteX0" fmla="*/ 181474 w 362312"/>
                <a:gd name="connsiteY0" fmla="*/ 0 h 361971"/>
                <a:gd name="connsiteX1" fmla="*/ 0 w 362312"/>
                <a:gd name="connsiteY1" fmla="*/ 180667 h 361971"/>
                <a:gd name="connsiteX2" fmla="*/ 180836 w 362312"/>
                <a:gd name="connsiteY2" fmla="*/ 361972 h 361971"/>
                <a:gd name="connsiteX3" fmla="*/ 362309 w 362312"/>
                <a:gd name="connsiteY3" fmla="*/ 181305 h 361971"/>
                <a:gd name="connsiteX4" fmla="*/ 362309 w 362312"/>
                <a:gd name="connsiteY4" fmla="*/ 181305 h 361971"/>
                <a:gd name="connsiteX5" fmla="*/ 181474 w 362312"/>
                <a:gd name="connsiteY5" fmla="*/ 0 h 361971"/>
                <a:gd name="connsiteX6" fmla="*/ 181474 w 362312"/>
                <a:gd name="connsiteY6" fmla="*/ 349204 h 361971"/>
                <a:gd name="connsiteX7" fmla="*/ 12780 w 362312"/>
                <a:gd name="connsiteY7" fmla="*/ 181305 h 361971"/>
                <a:gd name="connsiteX8" fmla="*/ 180836 w 362312"/>
                <a:gd name="connsiteY8" fmla="*/ 12768 h 361971"/>
                <a:gd name="connsiteX9" fmla="*/ 349529 w 362312"/>
                <a:gd name="connsiteY9" fmla="*/ 180667 h 361971"/>
                <a:gd name="connsiteX10" fmla="*/ 349529 w 362312"/>
                <a:gd name="connsiteY10" fmla="*/ 180667 h 361971"/>
                <a:gd name="connsiteX11" fmla="*/ 181474 w 362312"/>
                <a:gd name="connsiteY11" fmla="*/ 349204 h 361971"/>
                <a:gd name="connsiteX12" fmla="*/ 181474 w 362312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12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6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9" y="81077"/>
                    <a:pt x="281796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6" y="12768"/>
                  </a:cubicBezTo>
                  <a:cubicBezTo>
                    <a:pt x="274128" y="12768"/>
                    <a:pt x="349529" y="88099"/>
                    <a:pt x="349529" y="180667"/>
                  </a:cubicBezTo>
                  <a:cubicBezTo>
                    <a:pt x="349529" y="180667"/>
                    <a:pt x="349529" y="180667"/>
                    <a:pt x="349529" y="180667"/>
                  </a:cubicBezTo>
                  <a:cubicBezTo>
                    <a:pt x="350169" y="273873"/>
                    <a:pt x="274767" y="349204"/>
                    <a:pt x="181474" y="349204"/>
                  </a:cubicBezTo>
                  <a:lnTo>
                    <a:pt x="181474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Graphic 4">
              <a:extLst>
                <a:ext uri="{FF2B5EF4-FFF2-40B4-BE49-F238E27FC236}">
                  <a16:creationId xmlns:a16="http://schemas.microsoft.com/office/drawing/2014/main" id="{CC38710F-7816-8082-0C24-46A52A027DDB}"/>
                </a:ext>
              </a:extLst>
            </p:cNvPr>
            <p:cNvSpPr/>
            <p:nvPr/>
          </p:nvSpPr>
          <p:spPr>
            <a:xfrm>
              <a:off x="8984639" y="3522107"/>
              <a:ext cx="105144" cy="104795"/>
            </a:xfrm>
            <a:custGeom>
              <a:avLst/>
              <a:gdLst>
                <a:gd name="connsiteX0" fmla="*/ 97378 w 105144"/>
                <a:gd name="connsiteY0" fmla="*/ 98 h 104795"/>
                <a:gd name="connsiteX1" fmla="*/ 51370 w 105144"/>
                <a:gd name="connsiteY1" fmla="*/ 11590 h 104795"/>
                <a:gd name="connsiteX2" fmla="*/ 46259 w 105144"/>
                <a:gd name="connsiteY2" fmla="*/ 17974 h 104795"/>
                <a:gd name="connsiteX3" fmla="*/ 46259 w 105144"/>
                <a:gd name="connsiteY3" fmla="*/ 53724 h 104795"/>
                <a:gd name="connsiteX4" fmla="*/ 28366 w 105144"/>
                <a:gd name="connsiteY4" fmla="*/ 53724 h 104795"/>
                <a:gd name="connsiteX5" fmla="*/ 28366 w 105144"/>
                <a:gd name="connsiteY5" fmla="*/ 29465 h 104795"/>
                <a:gd name="connsiteX6" fmla="*/ 21977 w 105144"/>
                <a:gd name="connsiteY6" fmla="*/ 23081 h 104795"/>
                <a:gd name="connsiteX7" fmla="*/ 15587 w 105144"/>
                <a:gd name="connsiteY7" fmla="*/ 29465 h 104795"/>
                <a:gd name="connsiteX8" fmla="*/ 15587 w 105144"/>
                <a:gd name="connsiteY8" fmla="*/ 53724 h 104795"/>
                <a:gd name="connsiteX9" fmla="*/ 6641 w 105144"/>
                <a:gd name="connsiteY9" fmla="*/ 53724 h 104795"/>
                <a:gd name="connsiteX10" fmla="*/ 1529 w 105144"/>
                <a:gd name="connsiteY10" fmla="*/ 56278 h 104795"/>
                <a:gd name="connsiteX11" fmla="*/ 251 w 105144"/>
                <a:gd name="connsiteY11" fmla="*/ 61385 h 104795"/>
                <a:gd name="connsiteX12" fmla="*/ 7919 w 105144"/>
                <a:gd name="connsiteY12" fmla="*/ 99689 h 104795"/>
                <a:gd name="connsiteX13" fmla="*/ 14309 w 105144"/>
                <a:gd name="connsiteY13" fmla="*/ 104796 h 104795"/>
                <a:gd name="connsiteX14" fmla="*/ 60316 w 105144"/>
                <a:gd name="connsiteY14" fmla="*/ 104796 h 104795"/>
                <a:gd name="connsiteX15" fmla="*/ 66706 w 105144"/>
                <a:gd name="connsiteY15" fmla="*/ 99689 h 104795"/>
                <a:gd name="connsiteX16" fmla="*/ 74374 w 105144"/>
                <a:gd name="connsiteY16" fmla="*/ 61385 h 104795"/>
                <a:gd name="connsiteX17" fmla="*/ 69262 w 105144"/>
                <a:gd name="connsiteY17" fmla="*/ 53724 h 104795"/>
                <a:gd name="connsiteX18" fmla="*/ 67984 w 105144"/>
                <a:gd name="connsiteY18" fmla="*/ 53724 h 104795"/>
                <a:gd name="connsiteX19" fmla="*/ 59038 w 105144"/>
                <a:gd name="connsiteY19" fmla="*/ 53724 h 104795"/>
                <a:gd name="connsiteX20" fmla="*/ 59038 w 105144"/>
                <a:gd name="connsiteY20" fmla="*/ 23081 h 104795"/>
                <a:gd name="connsiteX21" fmla="*/ 99933 w 105144"/>
                <a:gd name="connsiteY21" fmla="*/ 12866 h 104795"/>
                <a:gd name="connsiteX22" fmla="*/ 105046 w 105144"/>
                <a:gd name="connsiteY22" fmla="*/ 5206 h 104795"/>
                <a:gd name="connsiteX23" fmla="*/ 97378 w 105144"/>
                <a:gd name="connsiteY23" fmla="*/ 98 h 104795"/>
                <a:gd name="connsiteX24" fmla="*/ 97378 w 105144"/>
                <a:gd name="connsiteY24" fmla="*/ 98 h 104795"/>
                <a:gd name="connsiteX25" fmla="*/ 97378 w 105144"/>
                <a:gd name="connsiteY25" fmla="*/ 98 h 104795"/>
                <a:gd name="connsiteX26" fmla="*/ 55204 w 105144"/>
                <a:gd name="connsiteY26" fmla="*/ 92028 h 104795"/>
                <a:gd name="connsiteX27" fmla="*/ 19420 w 105144"/>
                <a:gd name="connsiteY27" fmla="*/ 92028 h 104795"/>
                <a:gd name="connsiteX28" fmla="*/ 14309 w 105144"/>
                <a:gd name="connsiteY28" fmla="*/ 66492 h 104795"/>
                <a:gd name="connsiteX29" fmla="*/ 60316 w 105144"/>
                <a:gd name="connsiteY29" fmla="*/ 66492 h 104795"/>
                <a:gd name="connsiteX30" fmla="*/ 55204 w 105144"/>
                <a:gd name="connsiteY30" fmla="*/ 92028 h 104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5144" h="104795">
                  <a:moveTo>
                    <a:pt x="97378" y="98"/>
                  </a:moveTo>
                  <a:lnTo>
                    <a:pt x="51370" y="11590"/>
                  </a:lnTo>
                  <a:cubicBezTo>
                    <a:pt x="48175" y="12228"/>
                    <a:pt x="46259" y="14782"/>
                    <a:pt x="46259" y="17974"/>
                  </a:cubicBezTo>
                  <a:lnTo>
                    <a:pt x="46259" y="53724"/>
                  </a:lnTo>
                  <a:lnTo>
                    <a:pt x="28366" y="53724"/>
                  </a:lnTo>
                  <a:lnTo>
                    <a:pt x="28366" y="29465"/>
                  </a:lnTo>
                  <a:cubicBezTo>
                    <a:pt x="28366" y="25634"/>
                    <a:pt x="25810" y="23081"/>
                    <a:pt x="21977" y="23081"/>
                  </a:cubicBezTo>
                  <a:cubicBezTo>
                    <a:pt x="18143" y="23081"/>
                    <a:pt x="15587" y="25634"/>
                    <a:pt x="15587" y="29465"/>
                  </a:cubicBezTo>
                  <a:lnTo>
                    <a:pt x="15587" y="53724"/>
                  </a:lnTo>
                  <a:lnTo>
                    <a:pt x="6641" y="53724"/>
                  </a:lnTo>
                  <a:cubicBezTo>
                    <a:pt x="4724" y="53724"/>
                    <a:pt x="2807" y="54362"/>
                    <a:pt x="1529" y="56278"/>
                  </a:cubicBezTo>
                  <a:cubicBezTo>
                    <a:pt x="251" y="57554"/>
                    <a:pt x="-388" y="59470"/>
                    <a:pt x="251" y="61385"/>
                  </a:cubicBezTo>
                  <a:lnTo>
                    <a:pt x="7919" y="99689"/>
                  </a:lnTo>
                  <a:cubicBezTo>
                    <a:pt x="8558" y="102881"/>
                    <a:pt x="11114" y="104796"/>
                    <a:pt x="14309" y="104796"/>
                  </a:cubicBezTo>
                  <a:lnTo>
                    <a:pt x="60316" y="104796"/>
                  </a:lnTo>
                  <a:cubicBezTo>
                    <a:pt x="63511" y="104796"/>
                    <a:pt x="66067" y="102881"/>
                    <a:pt x="66706" y="99689"/>
                  </a:cubicBezTo>
                  <a:lnTo>
                    <a:pt x="74374" y="61385"/>
                  </a:lnTo>
                  <a:cubicBezTo>
                    <a:pt x="75013" y="58193"/>
                    <a:pt x="73096" y="54362"/>
                    <a:pt x="69262" y="53724"/>
                  </a:cubicBezTo>
                  <a:cubicBezTo>
                    <a:pt x="68623" y="53724"/>
                    <a:pt x="68623" y="53724"/>
                    <a:pt x="67984" y="53724"/>
                  </a:cubicBezTo>
                  <a:lnTo>
                    <a:pt x="59038" y="53724"/>
                  </a:lnTo>
                  <a:lnTo>
                    <a:pt x="59038" y="23081"/>
                  </a:lnTo>
                  <a:lnTo>
                    <a:pt x="99933" y="12866"/>
                  </a:lnTo>
                  <a:cubicBezTo>
                    <a:pt x="103128" y="12228"/>
                    <a:pt x="105685" y="9036"/>
                    <a:pt x="105046" y="5206"/>
                  </a:cubicBezTo>
                  <a:cubicBezTo>
                    <a:pt x="105046" y="2014"/>
                    <a:pt x="101212" y="-540"/>
                    <a:pt x="97378" y="98"/>
                  </a:cubicBezTo>
                  <a:cubicBezTo>
                    <a:pt x="98017" y="98"/>
                    <a:pt x="97378" y="98"/>
                    <a:pt x="97378" y="98"/>
                  </a:cubicBezTo>
                  <a:lnTo>
                    <a:pt x="97378" y="98"/>
                  </a:lnTo>
                  <a:close/>
                  <a:moveTo>
                    <a:pt x="55204" y="92028"/>
                  </a:moveTo>
                  <a:lnTo>
                    <a:pt x="19420" y="92028"/>
                  </a:lnTo>
                  <a:lnTo>
                    <a:pt x="14309" y="66492"/>
                  </a:lnTo>
                  <a:lnTo>
                    <a:pt x="60316" y="66492"/>
                  </a:lnTo>
                  <a:lnTo>
                    <a:pt x="55204" y="9202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Graphic 4">
              <a:extLst>
                <a:ext uri="{FF2B5EF4-FFF2-40B4-BE49-F238E27FC236}">
                  <a16:creationId xmlns:a16="http://schemas.microsoft.com/office/drawing/2014/main" id="{5B7A401B-5A7E-2BE0-A9A6-5E1006CA1BEB}"/>
                </a:ext>
              </a:extLst>
            </p:cNvPr>
            <p:cNvSpPr/>
            <p:nvPr/>
          </p:nvSpPr>
          <p:spPr>
            <a:xfrm>
              <a:off x="8953579" y="3460919"/>
              <a:ext cx="136744" cy="43411"/>
            </a:xfrm>
            <a:custGeom>
              <a:avLst/>
              <a:gdLst>
                <a:gd name="connsiteX0" fmla="*/ 128438 w 136744"/>
                <a:gd name="connsiteY0" fmla="*/ 0 h 43411"/>
                <a:gd name="connsiteX1" fmla="*/ 67094 w 136744"/>
                <a:gd name="connsiteY1" fmla="*/ 15322 h 43411"/>
                <a:gd name="connsiteX2" fmla="*/ 5751 w 136744"/>
                <a:gd name="connsiteY2" fmla="*/ 30643 h 43411"/>
                <a:gd name="connsiteX3" fmla="*/ 0 w 136744"/>
                <a:gd name="connsiteY3" fmla="*/ 37666 h 43411"/>
                <a:gd name="connsiteX4" fmla="*/ 7030 w 136744"/>
                <a:gd name="connsiteY4" fmla="*/ 43411 h 43411"/>
                <a:gd name="connsiteX5" fmla="*/ 8307 w 136744"/>
                <a:gd name="connsiteY5" fmla="*/ 43411 h 43411"/>
                <a:gd name="connsiteX6" fmla="*/ 69650 w 136744"/>
                <a:gd name="connsiteY6" fmla="*/ 28090 h 43411"/>
                <a:gd name="connsiteX7" fmla="*/ 130994 w 136744"/>
                <a:gd name="connsiteY7" fmla="*/ 12768 h 43411"/>
                <a:gd name="connsiteX8" fmla="*/ 136745 w 136744"/>
                <a:gd name="connsiteY8" fmla="*/ 5746 h 43411"/>
                <a:gd name="connsiteX9" fmla="*/ 129716 w 136744"/>
                <a:gd name="connsiteY9" fmla="*/ 0 h 43411"/>
                <a:gd name="connsiteX10" fmla="*/ 128438 w 136744"/>
                <a:gd name="connsiteY10" fmla="*/ 0 h 43411"/>
                <a:gd name="connsiteX11" fmla="*/ 128438 w 136744"/>
                <a:gd name="connsiteY11" fmla="*/ 0 h 4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6744" h="43411">
                  <a:moveTo>
                    <a:pt x="128438" y="0"/>
                  </a:moveTo>
                  <a:lnTo>
                    <a:pt x="67094" y="15322"/>
                  </a:lnTo>
                  <a:lnTo>
                    <a:pt x="5751" y="30643"/>
                  </a:lnTo>
                  <a:cubicBezTo>
                    <a:pt x="1917" y="31282"/>
                    <a:pt x="0" y="34474"/>
                    <a:pt x="0" y="37666"/>
                  </a:cubicBezTo>
                  <a:cubicBezTo>
                    <a:pt x="0" y="40858"/>
                    <a:pt x="3835" y="43411"/>
                    <a:pt x="7030" y="43411"/>
                  </a:cubicBezTo>
                  <a:lnTo>
                    <a:pt x="8307" y="43411"/>
                  </a:lnTo>
                  <a:lnTo>
                    <a:pt x="69650" y="28090"/>
                  </a:lnTo>
                  <a:lnTo>
                    <a:pt x="130994" y="12768"/>
                  </a:lnTo>
                  <a:cubicBezTo>
                    <a:pt x="134189" y="12130"/>
                    <a:pt x="136745" y="8938"/>
                    <a:pt x="136745" y="5746"/>
                  </a:cubicBezTo>
                  <a:cubicBezTo>
                    <a:pt x="136106" y="2554"/>
                    <a:pt x="132911" y="0"/>
                    <a:pt x="129716" y="0"/>
                  </a:cubicBezTo>
                  <a:cubicBezTo>
                    <a:pt x="129077" y="0"/>
                    <a:pt x="129077" y="0"/>
                    <a:pt x="128438" y="0"/>
                  </a:cubicBezTo>
                  <a:lnTo>
                    <a:pt x="128438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Graphic 4">
              <a:extLst>
                <a:ext uri="{FF2B5EF4-FFF2-40B4-BE49-F238E27FC236}">
                  <a16:creationId xmlns:a16="http://schemas.microsoft.com/office/drawing/2014/main" id="{E66A9B0B-7F27-A281-9D17-35D73A6AB916}"/>
                </a:ext>
              </a:extLst>
            </p:cNvPr>
            <p:cNvSpPr/>
            <p:nvPr/>
          </p:nvSpPr>
          <p:spPr>
            <a:xfrm>
              <a:off x="8953579" y="3491464"/>
              <a:ext cx="136204" cy="43509"/>
            </a:xfrm>
            <a:custGeom>
              <a:avLst/>
              <a:gdLst>
                <a:gd name="connsiteX0" fmla="*/ 128438 w 136204"/>
                <a:gd name="connsiteY0" fmla="*/ 98 h 43509"/>
                <a:gd name="connsiteX1" fmla="*/ 67094 w 136204"/>
                <a:gd name="connsiteY1" fmla="*/ 15420 h 43509"/>
                <a:gd name="connsiteX2" fmla="*/ 5751 w 136204"/>
                <a:gd name="connsiteY2" fmla="*/ 30741 h 43509"/>
                <a:gd name="connsiteX3" fmla="*/ 0 w 136204"/>
                <a:gd name="connsiteY3" fmla="*/ 37764 h 43509"/>
                <a:gd name="connsiteX4" fmla="*/ 7030 w 136204"/>
                <a:gd name="connsiteY4" fmla="*/ 43509 h 43509"/>
                <a:gd name="connsiteX5" fmla="*/ 8307 w 136204"/>
                <a:gd name="connsiteY5" fmla="*/ 43509 h 43509"/>
                <a:gd name="connsiteX6" fmla="*/ 69650 w 136204"/>
                <a:gd name="connsiteY6" fmla="*/ 28188 h 43509"/>
                <a:gd name="connsiteX7" fmla="*/ 130994 w 136204"/>
                <a:gd name="connsiteY7" fmla="*/ 12866 h 43509"/>
                <a:gd name="connsiteX8" fmla="*/ 136106 w 136204"/>
                <a:gd name="connsiteY8" fmla="*/ 5206 h 43509"/>
                <a:gd name="connsiteX9" fmla="*/ 128438 w 136204"/>
                <a:gd name="connsiteY9" fmla="*/ 98 h 43509"/>
                <a:gd name="connsiteX10" fmla="*/ 128438 w 136204"/>
                <a:gd name="connsiteY10" fmla="*/ 98 h 43509"/>
                <a:gd name="connsiteX11" fmla="*/ 128438 w 136204"/>
                <a:gd name="connsiteY11" fmla="*/ 98 h 43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6204" h="43509">
                  <a:moveTo>
                    <a:pt x="128438" y="98"/>
                  </a:moveTo>
                  <a:lnTo>
                    <a:pt x="67094" y="15420"/>
                  </a:lnTo>
                  <a:lnTo>
                    <a:pt x="5751" y="30741"/>
                  </a:lnTo>
                  <a:cubicBezTo>
                    <a:pt x="1917" y="31380"/>
                    <a:pt x="0" y="34572"/>
                    <a:pt x="0" y="37764"/>
                  </a:cubicBezTo>
                  <a:cubicBezTo>
                    <a:pt x="0" y="40956"/>
                    <a:pt x="3835" y="43509"/>
                    <a:pt x="7030" y="43509"/>
                  </a:cubicBezTo>
                  <a:lnTo>
                    <a:pt x="8307" y="43509"/>
                  </a:lnTo>
                  <a:lnTo>
                    <a:pt x="69650" y="28188"/>
                  </a:lnTo>
                  <a:lnTo>
                    <a:pt x="130994" y="12866"/>
                  </a:lnTo>
                  <a:cubicBezTo>
                    <a:pt x="134189" y="12228"/>
                    <a:pt x="136745" y="9036"/>
                    <a:pt x="136106" y="5206"/>
                  </a:cubicBezTo>
                  <a:cubicBezTo>
                    <a:pt x="135467" y="2014"/>
                    <a:pt x="132272" y="-540"/>
                    <a:pt x="128438" y="98"/>
                  </a:cubicBezTo>
                  <a:cubicBezTo>
                    <a:pt x="128438" y="737"/>
                    <a:pt x="128438" y="737"/>
                    <a:pt x="128438" y="98"/>
                  </a:cubicBezTo>
                  <a:lnTo>
                    <a:pt x="128438" y="9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Graphic 4">
              <a:extLst>
                <a:ext uri="{FF2B5EF4-FFF2-40B4-BE49-F238E27FC236}">
                  <a16:creationId xmlns:a16="http://schemas.microsoft.com/office/drawing/2014/main" id="{229DF18C-062F-6B5B-A4C5-64587544EC52}"/>
                </a:ext>
              </a:extLst>
            </p:cNvPr>
            <p:cNvSpPr/>
            <p:nvPr/>
          </p:nvSpPr>
          <p:spPr>
            <a:xfrm>
              <a:off x="8953882" y="3414856"/>
              <a:ext cx="74557" cy="28188"/>
            </a:xfrm>
            <a:custGeom>
              <a:avLst/>
              <a:gdLst>
                <a:gd name="connsiteX0" fmla="*/ 6726 w 74557"/>
                <a:gd name="connsiteY0" fmla="*/ 28188 h 28188"/>
                <a:gd name="connsiteX1" fmla="*/ 8004 w 74557"/>
                <a:gd name="connsiteY1" fmla="*/ 28188 h 28188"/>
                <a:gd name="connsiteX2" fmla="*/ 69347 w 74557"/>
                <a:gd name="connsiteY2" fmla="*/ 12866 h 28188"/>
                <a:gd name="connsiteX3" fmla="*/ 74459 w 74557"/>
                <a:gd name="connsiteY3" fmla="*/ 5206 h 28188"/>
                <a:gd name="connsiteX4" fmla="*/ 66791 w 74557"/>
                <a:gd name="connsiteY4" fmla="*/ 98 h 28188"/>
                <a:gd name="connsiteX5" fmla="*/ 66152 w 74557"/>
                <a:gd name="connsiteY5" fmla="*/ 98 h 28188"/>
                <a:gd name="connsiteX6" fmla="*/ 4809 w 74557"/>
                <a:gd name="connsiteY6" fmla="*/ 15420 h 28188"/>
                <a:gd name="connsiteX7" fmla="*/ 336 w 74557"/>
                <a:gd name="connsiteY7" fmla="*/ 23081 h 28188"/>
                <a:gd name="connsiteX8" fmla="*/ 336 w 74557"/>
                <a:gd name="connsiteY8" fmla="*/ 23081 h 28188"/>
                <a:gd name="connsiteX9" fmla="*/ 6726 w 74557"/>
                <a:gd name="connsiteY9" fmla="*/ 28188 h 28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57" h="28188">
                  <a:moveTo>
                    <a:pt x="6726" y="28188"/>
                  </a:moveTo>
                  <a:lnTo>
                    <a:pt x="8004" y="28188"/>
                  </a:lnTo>
                  <a:lnTo>
                    <a:pt x="69347" y="12866"/>
                  </a:lnTo>
                  <a:cubicBezTo>
                    <a:pt x="72542" y="12228"/>
                    <a:pt x="75098" y="9036"/>
                    <a:pt x="74459" y="5206"/>
                  </a:cubicBezTo>
                  <a:cubicBezTo>
                    <a:pt x="73821" y="2014"/>
                    <a:pt x="70626" y="-540"/>
                    <a:pt x="66791" y="98"/>
                  </a:cubicBezTo>
                  <a:cubicBezTo>
                    <a:pt x="66791" y="98"/>
                    <a:pt x="66152" y="98"/>
                    <a:pt x="66152" y="98"/>
                  </a:cubicBezTo>
                  <a:lnTo>
                    <a:pt x="4809" y="15420"/>
                  </a:lnTo>
                  <a:cubicBezTo>
                    <a:pt x="1614" y="16058"/>
                    <a:pt x="-942" y="19889"/>
                    <a:pt x="336" y="23081"/>
                  </a:cubicBezTo>
                  <a:cubicBezTo>
                    <a:pt x="336" y="23081"/>
                    <a:pt x="336" y="23081"/>
                    <a:pt x="336" y="23081"/>
                  </a:cubicBezTo>
                  <a:cubicBezTo>
                    <a:pt x="1614" y="26273"/>
                    <a:pt x="4170" y="28188"/>
                    <a:pt x="6726" y="2818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Graphic 4">
              <a:extLst>
                <a:ext uri="{FF2B5EF4-FFF2-40B4-BE49-F238E27FC236}">
                  <a16:creationId xmlns:a16="http://schemas.microsoft.com/office/drawing/2014/main" id="{A14F4C04-39B5-6FB2-C334-0A5FD1D0B933}"/>
                </a:ext>
              </a:extLst>
            </p:cNvPr>
            <p:cNvSpPr/>
            <p:nvPr/>
          </p:nvSpPr>
          <p:spPr>
            <a:xfrm>
              <a:off x="8953579" y="3430177"/>
              <a:ext cx="135803" cy="43509"/>
            </a:xfrm>
            <a:custGeom>
              <a:avLst/>
              <a:gdLst>
                <a:gd name="connsiteX0" fmla="*/ 128438 w 135803"/>
                <a:gd name="connsiteY0" fmla="*/ 99 h 43509"/>
                <a:gd name="connsiteX1" fmla="*/ 67094 w 135803"/>
                <a:gd name="connsiteY1" fmla="*/ 15420 h 43509"/>
                <a:gd name="connsiteX2" fmla="*/ 5751 w 135803"/>
                <a:gd name="connsiteY2" fmla="*/ 30742 h 43509"/>
                <a:gd name="connsiteX3" fmla="*/ 0 w 135803"/>
                <a:gd name="connsiteY3" fmla="*/ 37764 h 43509"/>
                <a:gd name="connsiteX4" fmla="*/ 7030 w 135803"/>
                <a:gd name="connsiteY4" fmla="*/ 43510 h 43509"/>
                <a:gd name="connsiteX5" fmla="*/ 8307 w 135803"/>
                <a:gd name="connsiteY5" fmla="*/ 43510 h 43509"/>
                <a:gd name="connsiteX6" fmla="*/ 69650 w 135803"/>
                <a:gd name="connsiteY6" fmla="*/ 28188 h 43509"/>
                <a:gd name="connsiteX7" fmla="*/ 130994 w 135803"/>
                <a:gd name="connsiteY7" fmla="*/ 12867 h 43509"/>
                <a:gd name="connsiteX8" fmla="*/ 135467 w 135803"/>
                <a:gd name="connsiteY8" fmla="*/ 5206 h 43509"/>
                <a:gd name="connsiteX9" fmla="*/ 128438 w 135803"/>
                <a:gd name="connsiteY9" fmla="*/ 99 h 43509"/>
                <a:gd name="connsiteX10" fmla="*/ 128438 w 135803"/>
                <a:gd name="connsiteY10" fmla="*/ 99 h 43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803" h="43509">
                  <a:moveTo>
                    <a:pt x="128438" y="99"/>
                  </a:moveTo>
                  <a:lnTo>
                    <a:pt x="67094" y="15420"/>
                  </a:lnTo>
                  <a:lnTo>
                    <a:pt x="5751" y="30742"/>
                  </a:lnTo>
                  <a:cubicBezTo>
                    <a:pt x="1917" y="31380"/>
                    <a:pt x="0" y="34572"/>
                    <a:pt x="0" y="37764"/>
                  </a:cubicBezTo>
                  <a:cubicBezTo>
                    <a:pt x="0" y="40956"/>
                    <a:pt x="3835" y="43510"/>
                    <a:pt x="7030" y="43510"/>
                  </a:cubicBezTo>
                  <a:cubicBezTo>
                    <a:pt x="7668" y="43510"/>
                    <a:pt x="8307" y="43510"/>
                    <a:pt x="8307" y="43510"/>
                  </a:cubicBezTo>
                  <a:lnTo>
                    <a:pt x="69650" y="28188"/>
                  </a:lnTo>
                  <a:lnTo>
                    <a:pt x="130994" y="12867"/>
                  </a:lnTo>
                  <a:cubicBezTo>
                    <a:pt x="134189" y="12228"/>
                    <a:pt x="136745" y="8398"/>
                    <a:pt x="135467" y="5206"/>
                  </a:cubicBezTo>
                  <a:cubicBezTo>
                    <a:pt x="135467" y="2014"/>
                    <a:pt x="132272" y="-540"/>
                    <a:pt x="128438" y="99"/>
                  </a:cubicBezTo>
                  <a:cubicBezTo>
                    <a:pt x="128438" y="99"/>
                    <a:pt x="128438" y="99"/>
                    <a:pt x="128438" y="9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" name="Graphic 4">
            <a:extLst>
              <a:ext uri="{FF2B5EF4-FFF2-40B4-BE49-F238E27FC236}">
                <a16:creationId xmlns:a16="http://schemas.microsoft.com/office/drawing/2014/main" id="{4D3145F5-49F8-2544-4BB8-63234D72D6C4}"/>
              </a:ext>
            </a:extLst>
          </p:cNvPr>
          <p:cNvGrpSpPr/>
          <p:nvPr/>
        </p:nvGrpSpPr>
        <p:grpSpPr>
          <a:xfrm>
            <a:off x="7191932" y="1846163"/>
            <a:ext cx="707826" cy="706137"/>
            <a:chOff x="2560447" y="1402723"/>
            <a:chExt cx="362309" cy="361971"/>
          </a:xfrm>
          <a:solidFill>
            <a:schemeClr val="bg1"/>
          </a:solidFill>
        </p:grpSpPr>
        <p:sp>
          <p:nvSpPr>
            <p:cNvPr id="12" name="Graphic 4">
              <a:extLst>
                <a:ext uri="{FF2B5EF4-FFF2-40B4-BE49-F238E27FC236}">
                  <a16:creationId xmlns:a16="http://schemas.microsoft.com/office/drawing/2014/main" id="{5F22B880-1C96-20D7-622F-2E4ADAD838EE}"/>
                </a:ext>
              </a:extLst>
            </p:cNvPr>
            <p:cNvSpPr/>
            <p:nvPr/>
          </p:nvSpPr>
          <p:spPr>
            <a:xfrm>
              <a:off x="2560447" y="1402723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362309 w 362309"/>
                <a:gd name="connsiteY4" fmla="*/ 181305 h 361971"/>
                <a:gd name="connsiteX5" fmla="*/ 181474 w 362309"/>
                <a:gd name="connsiteY5" fmla="*/ 0 h 361971"/>
                <a:gd name="connsiteX6" fmla="*/ 181474 w 362309"/>
                <a:gd name="connsiteY6" fmla="*/ 348565 h 361971"/>
                <a:gd name="connsiteX7" fmla="*/ 12780 w 362309"/>
                <a:gd name="connsiteY7" fmla="*/ 180667 h 361971"/>
                <a:gd name="connsiteX8" fmla="*/ 180835 w 362309"/>
                <a:gd name="connsiteY8" fmla="*/ 12130 h 361971"/>
                <a:gd name="connsiteX9" fmla="*/ 349529 w 362309"/>
                <a:gd name="connsiteY9" fmla="*/ 180028 h 361971"/>
                <a:gd name="connsiteX10" fmla="*/ 349529 w 362309"/>
                <a:gd name="connsiteY10" fmla="*/ 180028 h 361971"/>
                <a:gd name="connsiteX11" fmla="*/ 181474 w 362309"/>
                <a:gd name="connsiteY11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309" y="80438"/>
                    <a:pt x="281157" y="0"/>
                    <a:pt x="181474" y="0"/>
                  </a:cubicBezTo>
                  <a:close/>
                  <a:moveTo>
                    <a:pt x="181474" y="348565"/>
                  </a:moveTo>
                  <a:cubicBezTo>
                    <a:pt x="88181" y="348565"/>
                    <a:pt x="12780" y="273234"/>
                    <a:pt x="12780" y="180667"/>
                  </a:cubicBezTo>
                  <a:cubicBezTo>
                    <a:pt x="12780" y="88099"/>
                    <a:pt x="88181" y="12130"/>
                    <a:pt x="180835" y="12130"/>
                  </a:cubicBezTo>
                  <a:cubicBezTo>
                    <a:pt x="273489" y="12130"/>
                    <a:pt x="349529" y="87461"/>
                    <a:pt x="349529" y="180028"/>
                  </a:cubicBezTo>
                  <a:cubicBezTo>
                    <a:pt x="349529" y="180028"/>
                    <a:pt x="349529" y="180028"/>
                    <a:pt x="349529" y="180028"/>
                  </a:cubicBezTo>
                  <a:cubicBezTo>
                    <a:pt x="349529" y="273234"/>
                    <a:pt x="274128" y="348565"/>
                    <a:pt x="181474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Graphic 4">
              <a:extLst>
                <a:ext uri="{FF2B5EF4-FFF2-40B4-BE49-F238E27FC236}">
                  <a16:creationId xmlns:a16="http://schemas.microsoft.com/office/drawing/2014/main" id="{1A2CEAAE-AD23-B4D9-BDDE-E0E713327999}"/>
                </a:ext>
              </a:extLst>
            </p:cNvPr>
            <p:cNvSpPr/>
            <p:nvPr/>
          </p:nvSpPr>
          <p:spPr>
            <a:xfrm>
              <a:off x="2699748" y="1460162"/>
              <a:ext cx="84986" cy="117481"/>
            </a:xfrm>
            <a:custGeom>
              <a:avLst/>
              <a:gdLst>
                <a:gd name="connsiteX0" fmla="*/ 42813 w 84986"/>
                <a:gd name="connsiteY0" fmla="*/ 117482 h 117481"/>
                <a:gd name="connsiteX1" fmla="*/ 47925 w 84986"/>
                <a:gd name="connsiteY1" fmla="*/ 114928 h 117481"/>
                <a:gd name="connsiteX2" fmla="*/ 84986 w 84986"/>
                <a:gd name="connsiteY2" fmla="*/ 40874 h 117481"/>
                <a:gd name="connsiteX3" fmla="*/ 40896 w 84986"/>
                <a:gd name="connsiteY3" fmla="*/ 17 h 117481"/>
                <a:gd name="connsiteX4" fmla="*/ 0 w 84986"/>
                <a:gd name="connsiteY4" fmla="*/ 40874 h 117481"/>
                <a:gd name="connsiteX5" fmla="*/ 37062 w 84986"/>
                <a:gd name="connsiteY5" fmla="*/ 114928 h 117481"/>
                <a:gd name="connsiteX6" fmla="*/ 42813 w 84986"/>
                <a:gd name="connsiteY6" fmla="*/ 117482 h 117481"/>
                <a:gd name="connsiteX7" fmla="*/ 42813 w 84986"/>
                <a:gd name="connsiteY7" fmla="*/ 10869 h 117481"/>
                <a:gd name="connsiteX8" fmla="*/ 72206 w 84986"/>
                <a:gd name="connsiteY8" fmla="*/ 40236 h 117481"/>
                <a:gd name="connsiteX9" fmla="*/ 42813 w 84986"/>
                <a:gd name="connsiteY9" fmla="*/ 99607 h 117481"/>
                <a:gd name="connsiteX10" fmla="*/ 13419 w 84986"/>
                <a:gd name="connsiteY10" fmla="*/ 40236 h 117481"/>
                <a:gd name="connsiteX11" fmla="*/ 42813 w 84986"/>
                <a:gd name="connsiteY11" fmla="*/ 10869 h 117481"/>
                <a:gd name="connsiteX12" fmla="*/ 42813 w 84986"/>
                <a:gd name="connsiteY12" fmla="*/ 10869 h 11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4986" h="117481">
                  <a:moveTo>
                    <a:pt x="42813" y="117482"/>
                  </a:moveTo>
                  <a:cubicBezTo>
                    <a:pt x="44730" y="117482"/>
                    <a:pt x="46646" y="116205"/>
                    <a:pt x="47925" y="114928"/>
                  </a:cubicBezTo>
                  <a:cubicBezTo>
                    <a:pt x="51759" y="109821"/>
                    <a:pt x="84986" y="61941"/>
                    <a:pt x="84986" y="40874"/>
                  </a:cubicBezTo>
                  <a:cubicBezTo>
                    <a:pt x="84347" y="17253"/>
                    <a:pt x="64538" y="-622"/>
                    <a:pt x="40896" y="17"/>
                  </a:cubicBezTo>
                  <a:cubicBezTo>
                    <a:pt x="18531" y="655"/>
                    <a:pt x="1278" y="18530"/>
                    <a:pt x="0" y="40874"/>
                  </a:cubicBezTo>
                  <a:cubicBezTo>
                    <a:pt x="0" y="61941"/>
                    <a:pt x="33228" y="109821"/>
                    <a:pt x="37062" y="114928"/>
                  </a:cubicBezTo>
                  <a:cubicBezTo>
                    <a:pt x="38340" y="116843"/>
                    <a:pt x="40257" y="117482"/>
                    <a:pt x="42813" y="117482"/>
                  </a:cubicBezTo>
                  <a:close/>
                  <a:moveTo>
                    <a:pt x="42813" y="10869"/>
                  </a:moveTo>
                  <a:cubicBezTo>
                    <a:pt x="59426" y="10869"/>
                    <a:pt x="72206" y="24276"/>
                    <a:pt x="72206" y="40236"/>
                  </a:cubicBezTo>
                  <a:cubicBezTo>
                    <a:pt x="72206" y="51727"/>
                    <a:pt x="55593" y="79816"/>
                    <a:pt x="42813" y="99607"/>
                  </a:cubicBezTo>
                  <a:cubicBezTo>
                    <a:pt x="30033" y="79816"/>
                    <a:pt x="13419" y="51727"/>
                    <a:pt x="13419" y="40236"/>
                  </a:cubicBezTo>
                  <a:cubicBezTo>
                    <a:pt x="12780" y="24276"/>
                    <a:pt x="26199" y="10869"/>
                    <a:pt x="42813" y="10869"/>
                  </a:cubicBezTo>
                  <a:lnTo>
                    <a:pt x="42813" y="1086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Graphic 4">
              <a:extLst>
                <a:ext uri="{FF2B5EF4-FFF2-40B4-BE49-F238E27FC236}">
                  <a16:creationId xmlns:a16="http://schemas.microsoft.com/office/drawing/2014/main" id="{84BF087B-BE31-88CE-0F97-67FC7AA0AFD6}"/>
                </a:ext>
              </a:extLst>
            </p:cNvPr>
            <p:cNvSpPr/>
            <p:nvPr/>
          </p:nvSpPr>
          <p:spPr>
            <a:xfrm>
              <a:off x="2621824" y="1557118"/>
              <a:ext cx="200733" cy="129692"/>
            </a:xfrm>
            <a:custGeom>
              <a:avLst/>
              <a:gdLst>
                <a:gd name="connsiteX0" fmla="*/ 145657 w 200733"/>
                <a:gd name="connsiteY0" fmla="*/ 43509 h 129692"/>
                <a:gd name="connsiteX1" fmla="*/ 196138 w 200733"/>
                <a:gd name="connsiteY1" fmla="*/ 38402 h 129692"/>
                <a:gd name="connsiteX2" fmla="*/ 200611 w 200733"/>
                <a:gd name="connsiteY2" fmla="*/ 24995 h 129692"/>
                <a:gd name="connsiteX3" fmla="*/ 155242 w 200733"/>
                <a:gd name="connsiteY3" fmla="*/ 98 h 129692"/>
                <a:gd name="connsiteX4" fmla="*/ 148213 w 200733"/>
                <a:gd name="connsiteY4" fmla="*/ 5843 h 129692"/>
                <a:gd name="connsiteX5" fmla="*/ 153964 w 200733"/>
                <a:gd name="connsiteY5" fmla="*/ 12866 h 129692"/>
                <a:gd name="connsiteX6" fmla="*/ 153964 w 200733"/>
                <a:gd name="connsiteY6" fmla="*/ 12866 h 129692"/>
                <a:gd name="connsiteX7" fmla="*/ 188470 w 200733"/>
                <a:gd name="connsiteY7" fmla="*/ 25634 h 129692"/>
                <a:gd name="connsiteX8" fmla="*/ 187831 w 200733"/>
                <a:gd name="connsiteY8" fmla="*/ 29464 h 129692"/>
                <a:gd name="connsiteX9" fmla="*/ 146935 w 200733"/>
                <a:gd name="connsiteY9" fmla="*/ 30741 h 129692"/>
                <a:gd name="connsiteX10" fmla="*/ 129682 w 200733"/>
                <a:gd name="connsiteY10" fmla="*/ 29464 h 129692"/>
                <a:gd name="connsiteX11" fmla="*/ 26804 w 200733"/>
                <a:gd name="connsiteY11" fmla="*/ 40317 h 129692"/>
                <a:gd name="connsiteX12" fmla="*/ 14025 w 200733"/>
                <a:gd name="connsiteY12" fmla="*/ 126501 h 129692"/>
                <a:gd name="connsiteX13" fmla="*/ 19136 w 200733"/>
                <a:gd name="connsiteY13" fmla="*/ 129693 h 129692"/>
                <a:gd name="connsiteX14" fmla="*/ 22331 w 200733"/>
                <a:gd name="connsiteY14" fmla="*/ 129054 h 129692"/>
                <a:gd name="connsiteX15" fmla="*/ 24248 w 200733"/>
                <a:gd name="connsiteY15" fmla="*/ 120117 h 129692"/>
                <a:gd name="connsiteX16" fmla="*/ 24248 w 200733"/>
                <a:gd name="connsiteY16" fmla="*/ 120117 h 129692"/>
                <a:gd name="connsiteX17" fmla="*/ 33194 w 200733"/>
                <a:gd name="connsiteY17" fmla="*/ 51170 h 129692"/>
                <a:gd name="connsiteX18" fmla="*/ 127765 w 200733"/>
                <a:gd name="connsiteY18" fmla="*/ 42232 h 129692"/>
                <a:gd name="connsiteX19" fmla="*/ 145657 w 200733"/>
                <a:gd name="connsiteY19" fmla="*/ 43509 h 129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0733" h="129692">
                  <a:moveTo>
                    <a:pt x="145657" y="43509"/>
                  </a:moveTo>
                  <a:cubicBezTo>
                    <a:pt x="178246" y="46062"/>
                    <a:pt x="189748" y="44786"/>
                    <a:pt x="196138" y="38402"/>
                  </a:cubicBezTo>
                  <a:cubicBezTo>
                    <a:pt x="199333" y="34571"/>
                    <a:pt x="201250" y="30102"/>
                    <a:pt x="200611" y="24995"/>
                  </a:cubicBezTo>
                  <a:cubicBezTo>
                    <a:pt x="199972" y="7120"/>
                    <a:pt x="165466" y="2013"/>
                    <a:pt x="155242" y="98"/>
                  </a:cubicBezTo>
                  <a:cubicBezTo>
                    <a:pt x="152047" y="-541"/>
                    <a:pt x="148852" y="2013"/>
                    <a:pt x="148213" y="5843"/>
                  </a:cubicBezTo>
                  <a:cubicBezTo>
                    <a:pt x="147574" y="9035"/>
                    <a:pt x="150130" y="12227"/>
                    <a:pt x="153964" y="12866"/>
                  </a:cubicBezTo>
                  <a:cubicBezTo>
                    <a:pt x="153964" y="12866"/>
                    <a:pt x="153964" y="12866"/>
                    <a:pt x="153964" y="12866"/>
                  </a:cubicBezTo>
                  <a:cubicBezTo>
                    <a:pt x="172495" y="15419"/>
                    <a:pt x="188470" y="21803"/>
                    <a:pt x="188470" y="25634"/>
                  </a:cubicBezTo>
                  <a:cubicBezTo>
                    <a:pt x="188470" y="27549"/>
                    <a:pt x="188470" y="28826"/>
                    <a:pt x="187831" y="29464"/>
                  </a:cubicBezTo>
                  <a:cubicBezTo>
                    <a:pt x="183358" y="33294"/>
                    <a:pt x="157798" y="32018"/>
                    <a:pt x="146935" y="30741"/>
                  </a:cubicBezTo>
                  <a:lnTo>
                    <a:pt x="129682" y="29464"/>
                  </a:lnTo>
                  <a:cubicBezTo>
                    <a:pt x="92621" y="26272"/>
                    <a:pt x="53642" y="23080"/>
                    <a:pt x="26804" y="40317"/>
                  </a:cubicBezTo>
                  <a:cubicBezTo>
                    <a:pt x="-3867" y="60107"/>
                    <a:pt x="-8340" y="91389"/>
                    <a:pt x="14025" y="126501"/>
                  </a:cubicBezTo>
                  <a:cubicBezTo>
                    <a:pt x="15303" y="128416"/>
                    <a:pt x="17220" y="129693"/>
                    <a:pt x="19136" y="129693"/>
                  </a:cubicBezTo>
                  <a:cubicBezTo>
                    <a:pt x="20414" y="129693"/>
                    <a:pt x="21693" y="129054"/>
                    <a:pt x="22331" y="129054"/>
                  </a:cubicBezTo>
                  <a:cubicBezTo>
                    <a:pt x="25526" y="127139"/>
                    <a:pt x="26165" y="123309"/>
                    <a:pt x="24248" y="120117"/>
                  </a:cubicBezTo>
                  <a:cubicBezTo>
                    <a:pt x="24248" y="120117"/>
                    <a:pt x="24248" y="120117"/>
                    <a:pt x="24248" y="120117"/>
                  </a:cubicBezTo>
                  <a:cubicBezTo>
                    <a:pt x="11469" y="99688"/>
                    <a:pt x="1884" y="70960"/>
                    <a:pt x="33194" y="51170"/>
                  </a:cubicBezTo>
                  <a:cubicBezTo>
                    <a:pt x="56198" y="36486"/>
                    <a:pt x="92621" y="39040"/>
                    <a:pt x="127765" y="42232"/>
                  </a:cubicBezTo>
                  <a:cubicBezTo>
                    <a:pt x="134155" y="42870"/>
                    <a:pt x="139906" y="43509"/>
                    <a:pt x="145657" y="4350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Graphic 4">
              <a:extLst>
                <a:ext uri="{FF2B5EF4-FFF2-40B4-BE49-F238E27FC236}">
                  <a16:creationId xmlns:a16="http://schemas.microsoft.com/office/drawing/2014/main" id="{B3F5A12E-4542-DD16-2637-757B68283C3D}"/>
                </a:ext>
              </a:extLst>
            </p:cNvPr>
            <p:cNvSpPr/>
            <p:nvPr/>
          </p:nvSpPr>
          <p:spPr>
            <a:xfrm>
              <a:off x="2719341" y="1538702"/>
              <a:ext cx="142164" cy="170452"/>
            </a:xfrm>
            <a:custGeom>
              <a:avLst/>
              <a:gdLst>
                <a:gd name="connsiteX0" fmla="*/ 136322 w 142164"/>
                <a:gd name="connsiteY0" fmla="*/ 29366 h 170452"/>
                <a:gd name="connsiteX1" fmla="*/ 65393 w 142164"/>
                <a:gd name="connsiteY1" fmla="*/ 0 h 170452"/>
                <a:gd name="connsiteX2" fmla="*/ 58365 w 142164"/>
                <a:gd name="connsiteY2" fmla="*/ 5746 h 170452"/>
                <a:gd name="connsiteX3" fmla="*/ 64116 w 142164"/>
                <a:gd name="connsiteY3" fmla="*/ 12768 h 170452"/>
                <a:gd name="connsiteX4" fmla="*/ 125459 w 142164"/>
                <a:gd name="connsiteY4" fmla="*/ 37027 h 170452"/>
                <a:gd name="connsiteX5" fmla="*/ 128015 w 142164"/>
                <a:gd name="connsiteY5" fmla="*/ 56179 h 170452"/>
                <a:gd name="connsiteX6" fmla="*/ 89036 w 142164"/>
                <a:gd name="connsiteY6" fmla="*/ 82353 h 170452"/>
                <a:gd name="connsiteX7" fmla="*/ 45585 w 142164"/>
                <a:gd name="connsiteY7" fmla="*/ 86184 h 170452"/>
                <a:gd name="connsiteX8" fmla="*/ 27054 w 142164"/>
                <a:gd name="connsiteY8" fmla="*/ 86184 h 170452"/>
                <a:gd name="connsiteX9" fmla="*/ 2133 w 142164"/>
                <a:gd name="connsiteY9" fmla="*/ 106613 h 170452"/>
                <a:gd name="connsiteX10" fmla="*/ 25137 w 142164"/>
                <a:gd name="connsiteY10" fmla="*/ 168537 h 170452"/>
                <a:gd name="connsiteX11" fmla="*/ 34083 w 142164"/>
                <a:gd name="connsiteY11" fmla="*/ 168537 h 170452"/>
                <a:gd name="connsiteX12" fmla="*/ 34083 w 142164"/>
                <a:gd name="connsiteY12" fmla="*/ 159600 h 170452"/>
                <a:gd name="connsiteX13" fmla="*/ 34083 w 142164"/>
                <a:gd name="connsiteY13" fmla="*/ 159600 h 170452"/>
                <a:gd name="connsiteX14" fmla="*/ 14274 w 142164"/>
                <a:gd name="connsiteY14" fmla="*/ 111081 h 170452"/>
                <a:gd name="connsiteX15" fmla="*/ 28332 w 142164"/>
                <a:gd name="connsiteY15" fmla="*/ 99590 h 170452"/>
                <a:gd name="connsiteX16" fmla="*/ 44946 w 142164"/>
                <a:gd name="connsiteY16" fmla="*/ 99590 h 170452"/>
                <a:gd name="connsiteX17" fmla="*/ 90953 w 142164"/>
                <a:gd name="connsiteY17" fmla="*/ 95760 h 170452"/>
                <a:gd name="connsiteX18" fmla="*/ 139517 w 142164"/>
                <a:gd name="connsiteY18" fmla="*/ 60648 h 170452"/>
                <a:gd name="connsiteX19" fmla="*/ 136322 w 142164"/>
                <a:gd name="connsiteY19" fmla="*/ 29366 h 170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2164" h="170452">
                  <a:moveTo>
                    <a:pt x="136322" y="29366"/>
                  </a:moveTo>
                  <a:cubicBezTo>
                    <a:pt x="118430" y="4469"/>
                    <a:pt x="67950" y="0"/>
                    <a:pt x="65393" y="0"/>
                  </a:cubicBezTo>
                  <a:cubicBezTo>
                    <a:pt x="61560" y="0"/>
                    <a:pt x="59004" y="2554"/>
                    <a:pt x="58365" y="5746"/>
                  </a:cubicBezTo>
                  <a:cubicBezTo>
                    <a:pt x="58365" y="9576"/>
                    <a:pt x="60921" y="12130"/>
                    <a:pt x="64116" y="12768"/>
                  </a:cubicBezTo>
                  <a:cubicBezTo>
                    <a:pt x="76895" y="14045"/>
                    <a:pt x="113318" y="19790"/>
                    <a:pt x="125459" y="37027"/>
                  </a:cubicBezTo>
                  <a:cubicBezTo>
                    <a:pt x="129293" y="42773"/>
                    <a:pt x="130571" y="49795"/>
                    <a:pt x="128015" y="56179"/>
                  </a:cubicBezTo>
                  <a:cubicBezTo>
                    <a:pt x="124820" y="68309"/>
                    <a:pt x="109484" y="77885"/>
                    <a:pt x="89036" y="82353"/>
                  </a:cubicBezTo>
                  <a:cubicBezTo>
                    <a:pt x="74978" y="85545"/>
                    <a:pt x="60282" y="86184"/>
                    <a:pt x="45585" y="86184"/>
                  </a:cubicBezTo>
                  <a:cubicBezTo>
                    <a:pt x="39195" y="85545"/>
                    <a:pt x="33444" y="85545"/>
                    <a:pt x="27054" y="86184"/>
                  </a:cubicBezTo>
                  <a:cubicBezTo>
                    <a:pt x="15552" y="87461"/>
                    <a:pt x="5967" y="95121"/>
                    <a:pt x="2133" y="106613"/>
                  </a:cubicBezTo>
                  <a:cubicBezTo>
                    <a:pt x="-1062" y="114912"/>
                    <a:pt x="-4896" y="137894"/>
                    <a:pt x="25137" y="168537"/>
                  </a:cubicBezTo>
                  <a:cubicBezTo>
                    <a:pt x="27693" y="171091"/>
                    <a:pt x="31527" y="171091"/>
                    <a:pt x="34083" y="168537"/>
                  </a:cubicBezTo>
                  <a:cubicBezTo>
                    <a:pt x="36639" y="165984"/>
                    <a:pt x="36639" y="162153"/>
                    <a:pt x="34083" y="159600"/>
                  </a:cubicBezTo>
                  <a:lnTo>
                    <a:pt x="34083" y="159600"/>
                  </a:lnTo>
                  <a:cubicBezTo>
                    <a:pt x="16830" y="141724"/>
                    <a:pt x="9162" y="123849"/>
                    <a:pt x="14274" y="111081"/>
                  </a:cubicBezTo>
                  <a:cubicBezTo>
                    <a:pt x="16191" y="104697"/>
                    <a:pt x="21942" y="100229"/>
                    <a:pt x="28332" y="99590"/>
                  </a:cubicBezTo>
                  <a:cubicBezTo>
                    <a:pt x="34083" y="98952"/>
                    <a:pt x="39834" y="98952"/>
                    <a:pt x="44946" y="99590"/>
                  </a:cubicBezTo>
                  <a:cubicBezTo>
                    <a:pt x="60282" y="100229"/>
                    <a:pt x="75617" y="98952"/>
                    <a:pt x="90953" y="95760"/>
                  </a:cubicBezTo>
                  <a:cubicBezTo>
                    <a:pt x="116513" y="90653"/>
                    <a:pt x="135044" y="77246"/>
                    <a:pt x="139517" y="60648"/>
                  </a:cubicBezTo>
                  <a:cubicBezTo>
                    <a:pt x="143990" y="49795"/>
                    <a:pt x="142712" y="38304"/>
                    <a:pt x="136322" y="2936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" name="Graphic 4">
            <a:extLst>
              <a:ext uri="{FF2B5EF4-FFF2-40B4-BE49-F238E27FC236}">
                <a16:creationId xmlns:a16="http://schemas.microsoft.com/office/drawing/2014/main" id="{2789F2CF-F0D6-56DD-BDFF-229D6EAF4C66}"/>
              </a:ext>
            </a:extLst>
          </p:cNvPr>
          <p:cNvGrpSpPr/>
          <p:nvPr/>
        </p:nvGrpSpPr>
        <p:grpSpPr>
          <a:xfrm>
            <a:off x="3837936" y="4130210"/>
            <a:ext cx="716227" cy="703778"/>
            <a:chOff x="3607758" y="2371173"/>
            <a:chExt cx="362313" cy="361971"/>
          </a:xfrm>
          <a:solidFill>
            <a:schemeClr val="bg1"/>
          </a:solidFill>
        </p:grpSpPr>
        <p:sp>
          <p:nvSpPr>
            <p:cNvPr id="17" name="Graphic 4">
              <a:extLst>
                <a:ext uri="{FF2B5EF4-FFF2-40B4-BE49-F238E27FC236}">
                  <a16:creationId xmlns:a16="http://schemas.microsoft.com/office/drawing/2014/main" id="{99F5C939-6AE6-BDD1-DBAA-12ADE7D9C131}"/>
                </a:ext>
              </a:extLst>
            </p:cNvPr>
            <p:cNvSpPr/>
            <p:nvPr/>
          </p:nvSpPr>
          <p:spPr>
            <a:xfrm>
              <a:off x="3607758" y="2371173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6 w 362313"/>
                <a:gd name="connsiteY2" fmla="*/ 361972 h 361971"/>
                <a:gd name="connsiteX3" fmla="*/ 362310 w 362313"/>
                <a:gd name="connsiteY3" fmla="*/ 181305 h 361971"/>
                <a:gd name="connsiteX4" fmla="*/ 362310 w 362313"/>
                <a:gd name="connsiteY4" fmla="*/ 181305 h 361971"/>
                <a:gd name="connsiteX5" fmla="*/ 181474 w 362313"/>
                <a:gd name="connsiteY5" fmla="*/ 0 h 361971"/>
                <a:gd name="connsiteX6" fmla="*/ 181474 w 362313"/>
                <a:gd name="connsiteY6" fmla="*/ 0 h 361971"/>
                <a:gd name="connsiteX7" fmla="*/ 181474 w 362313"/>
                <a:gd name="connsiteY7" fmla="*/ 349204 h 361971"/>
                <a:gd name="connsiteX8" fmla="*/ 12780 w 362313"/>
                <a:gd name="connsiteY8" fmla="*/ 181305 h 361971"/>
                <a:gd name="connsiteX9" fmla="*/ 180836 w 362313"/>
                <a:gd name="connsiteY9" fmla="*/ 12768 h 361971"/>
                <a:gd name="connsiteX10" fmla="*/ 349530 w 362313"/>
                <a:gd name="connsiteY10" fmla="*/ 180667 h 361971"/>
                <a:gd name="connsiteX11" fmla="*/ 349530 w 362313"/>
                <a:gd name="connsiteY11" fmla="*/ 180667 h 361971"/>
                <a:gd name="connsiteX12" fmla="*/ 181474 w 362313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6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949" y="81077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8"/>
                    <a:pt x="88181" y="12768"/>
                    <a:pt x="180836" y="12768"/>
                  </a:cubicBezTo>
                  <a:cubicBezTo>
                    <a:pt x="274128" y="12768"/>
                    <a:pt x="349530" y="88099"/>
                    <a:pt x="349530" y="180667"/>
                  </a:cubicBezTo>
                  <a:cubicBezTo>
                    <a:pt x="349530" y="180667"/>
                    <a:pt x="349530" y="180667"/>
                    <a:pt x="349530" y="180667"/>
                  </a:cubicBezTo>
                  <a:cubicBezTo>
                    <a:pt x="349530" y="273873"/>
                    <a:pt x="274128" y="349204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Graphic 4">
              <a:extLst>
                <a:ext uri="{FF2B5EF4-FFF2-40B4-BE49-F238E27FC236}">
                  <a16:creationId xmlns:a16="http://schemas.microsoft.com/office/drawing/2014/main" id="{4CE7C9BB-4422-A62A-D908-804BBB87E367}"/>
                </a:ext>
              </a:extLst>
            </p:cNvPr>
            <p:cNvSpPr/>
            <p:nvPr/>
          </p:nvSpPr>
          <p:spPr>
            <a:xfrm>
              <a:off x="3729806" y="2494384"/>
              <a:ext cx="116296" cy="116188"/>
            </a:xfrm>
            <a:custGeom>
              <a:avLst/>
              <a:gdLst>
                <a:gd name="connsiteX0" fmla="*/ 6390 w 116296"/>
                <a:gd name="connsiteY0" fmla="*/ 116188 h 116188"/>
                <a:gd name="connsiteX1" fmla="*/ 109907 w 116296"/>
                <a:gd name="connsiteY1" fmla="*/ 116188 h 116188"/>
                <a:gd name="connsiteX2" fmla="*/ 116297 w 116296"/>
                <a:gd name="connsiteY2" fmla="*/ 109804 h 116188"/>
                <a:gd name="connsiteX3" fmla="*/ 116297 w 116296"/>
                <a:gd name="connsiteY3" fmla="*/ 6384 h 116188"/>
                <a:gd name="connsiteX4" fmla="*/ 109907 w 116296"/>
                <a:gd name="connsiteY4" fmla="*/ 0 h 116188"/>
                <a:gd name="connsiteX5" fmla="*/ 6390 w 116296"/>
                <a:gd name="connsiteY5" fmla="*/ 0 h 116188"/>
                <a:gd name="connsiteX6" fmla="*/ 0 w 116296"/>
                <a:gd name="connsiteY6" fmla="*/ 6384 h 116188"/>
                <a:gd name="connsiteX7" fmla="*/ 0 w 116296"/>
                <a:gd name="connsiteY7" fmla="*/ 109804 h 116188"/>
                <a:gd name="connsiteX8" fmla="*/ 6390 w 116296"/>
                <a:gd name="connsiteY8" fmla="*/ 116188 h 116188"/>
                <a:gd name="connsiteX9" fmla="*/ 12780 w 116296"/>
                <a:gd name="connsiteY9" fmla="*/ 12768 h 116188"/>
                <a:gd name="connsiteX10" fmla="*/ 103517 w 116296"/>
                <a:gd name="connsiteY10" fmla="*/ 12768 h 116188"/>
                <a:gd name="connsiteX11" fmla="*/ 103517 w 116296"/>
                <a:gd name="connsiteY11" fmla="*/ 103420 h 116188"/>
                <a:gd name="connsiteX12" fmla="*/ 12780 w 116296"/>
                <a:gd name="connsiteY12" fmla="*/ 103420 h 116188"/>
                <a:gd name="connsiteX13" fmla="*/ 12780 w 116296"/>
                <a:gd name="connsiteY13" fmla="*/ 12768 h 116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6296" h="116188">
                  <a:moveTo>
                    <a:pt x="6390" y="116188"/>
                  </a:moveTo>
                  <a:lnTo>
                    <a:pt x="109907" y="116188"/>
                  </a:lnTo>
                  <a:cubicBezTo>
                    <a:pt x="113741" y="116188"/>
                    <a:pt x="116297" y="113635"/>
                    <a:pt x="116297" y="109804"/>
                  </a:cubicBezTo>
                  <a:lnTo>
                    <a:pt x="116297" y="6384"/>
                  </a:lnTo>
                  <a:cubicBezTo>
                    <a:pt x="116297" y="2554"/>
                    <a:pt x="113741" y="0"/>
                    <a:pt x="109907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109804"/>
                  </a:lnTo>
                  <a:cubicBezTo>
                    <a:pt x="0" y="113635"/>
                    <a:pt x="2556" y="116188"/>
                    <a:pt x="6390" y="116188"/>
                  </a:cubicBezTo>
                  <a:close/>
                  <a:moveTo>
                    <a:pt x="12780" y="12768"/>
                  </a:moveTo>
                  <a:lnTo>
                    <a:pt x="103517" y="12768"/>
                  </a:lnTo>
                  <a:lnTo>
                    <a:pt x="103517" y="103420"/>
                  </a:lnTo>
                  <a:lnTo>
                    <a:pt x="12780" y="103420"/>
                  </a:lnTo>
                  <a:lnTo>
                    <a:pt x="12780" y="1276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Graphic 4">
              <a:extLst>
                <a:ext uri="{FF2B5EF4-FFF2-40B4-BE49-F238E27FC236}">
                  <a16:creationId xmlns:a16="http://schemas.microsoft.com/office/drawing/2014/main" id="{E737FEDC-6DD4-0CDA-00DC-16A23DBD3694}"/>
                </a:ext>
              </a:extLst>
            </p:cNvPr>
            <p:cNvSpPr/>
            <p:nvPr/>
          </p:nvSpPr>
          <p:spPr>
            <a:xfrm>
              <a:off x="3678047" y="2440759"/>
              <a:ext cx="223008" cy="223439"/>
            </a:xfrm>
            <a:custGeom>
              <a:avLst/>
              <a:gdLst>
                <a:gd name="connsiteX0" fmla="*/ 192337 w 223008"/>
                <a:gd name="connsiteY0" fmla="*/ 88099 h 223439"/>
                <a:gd name="connsiteX1" fmla="*/ 215980 w 223008"/>
                <a:gd name="connsiteY1" fmla="*/ 88099 h 223439"/>
                <a:gd name="connsiteX2" fmla="*/ 222370 w 223008"/>
                <a:gd name="connsiteY2" fmla="*/ 81715 h 223439"/>
                <a:gd name="connsiteX3" fmla="*/ 215980 w 223008"/>
                <a:gd name="connsiteY3" fmla="*/ 75331 h 223439"/>
                <a:gd name="connsiteX4" fmla="*/ 191698 w 223008"/>
                <a:gd name="connsiteY4" fmla="*/ 75331 h 223439"/>
                <a:gd name="connsiteX5" fmla="*/ 191698 w 223008"/>
                <a:gd name="connsiteY5" fmla="*/ 36389 h 223439"/>
                <a:gd name="connsiteX6" fmla="*/ 185308 w 223008"/>
                <a:gd name="connsiteY6" fmla="*/ 30005 h 223439"/>
                <a:gd name="connsiteX7" fmla="*/ 146969 w 223008"/>
                <a:gd name="connsiteY7" fmla="*/ 30005 h 223439"/>
                <a:gd name="connsiteX8" fmla="*/ 146969 w 223008"/>
                <a:gd name="connsiteY8" fmla="*/ 6384 h 223439"/>
                <a:gd name="connsiteX9" fmla="*/ 140579 w 223008"/>
                <a:gd name="connsiteY9" fmla="*/ 0 h 223439"/>
                <a:gd name="connsiteX10" fmla="*/ 134189 w 223008"/>
                <a:gd name="connsiteY10" fmla="*/ 6384 h 223439"/>
                <a:gd name="connsiteX11" fmla="*/ 134189 w 223008"/>
                <a:gd name="connsiteY11" fmla="*/ 30005 h 223439"/>
                <a:gd name="connsiteX12" fmla="*/ 117575 w 223008"/>
                <a:gd name="connsiteY12" fmla="*/ 30005 h 223439"/>
                <a:gd name="connsiteX13" fmla="*/ 117575 w 223008"/>
                <a:gd name="connsiteY13" fmla="*/ 6384 h 223439"/>
                <a:gd name="connsiteX14" fmla="*/ 111185 w 223008"/>
                <a:gd name="connsiteY14" fmla="*/ 0 h 223439"/>
                <a:gd name="connsiteX15" fmla="*/ 104795 w 223008"/>
                <a:gd name="connsiteY15" fmla="*/ 6384 h 223439"/>
                <a:gd name="connsiteX16" fmla="*/ 104795 w 223008"/>
                <a:gd name="connsiteY16" fmla="*/ 30005 h 223439"/>
                <a:gd name="connsiteX17" fmla="*/ 87542 w 223008"/>
                <a:gd name="connsiteY17" fmla="*/ 30005 h 223439"/>
                <a:gd name="connsiteX18" fmla="*/ 87542 w 223008"/>
                <a:gd name="connsiteY18" fmla="*/ 6384 h 223439"/>
                <a:gd name="connsiteX19" fmla="*/ 81152 w 223008"/>
                <a:gd name="connsiteY19" fmla="*/ 0 h 223439"/>
                <a:gd name="connsiteX20" fmla="*/ 74762 w 223008"/>
                <a:gd name="connsiteY20" fmla="*/ 6384 h 223439"/>
                <a:gd name="connsiteX21" fmla="*/ 74762 w 223008"/>
                <a:gd name="connsiteY21" fmla="*/ 30005 h 223439"/>
                <a:gd name="connsiteX22" fmla="*/ 36423 w 223008"/>
                <a:gd name="connsiteY22" fmla="*/ 30005 h 223439"/>
                <a:gd name="connsiteX23" fmla="*/ 30033 w 223008"/>
                <a:gd name="connsiteY23" fmla="*/ 36389 h 223439"/>
                <a:gd name="connsiteX24" fmla="*/ 30033 w 223008"/>
                <a:gd name="connsiteY24" fmla="*/ 75331 h 223439"/>
                <a:gd name="connsiteX25" fmla="*/ 6390 w 223008"/>
                <a:gd name="connsiteY25" fmla="*/ 75331 h 223439"/>
                <a:gd name="connsiteX26" fmla="*/ 0 w 223008"/>
                <a:gd name="connsiteY26" fmla="*/ 81715 h 223439"/>
                <a:gd name="connsiteX27" fmla="*/ 6390 w 223008"/>
                <a:gd name="connsiteY27" fmla="*/ 88099 h 223439"/>
                <a:gd name="connsiteX28" fmla="*/ 30033 w 223008"/>
                <a:gd name="connsiteY28" fmla="*/ 88099 h 223439"/>
                <a:gd name="connsiteX29" fmla="*/ 30033 w 223008"/>
                <a:gd name="connsiteY29" fmla="*/ 105336 h 223439"/>
                <a:gd name="connsiteX30" fmla="*/ 6390 w 223008"/>
                <a:gd name="connsiteY30" fmla="*/ 105336 h 223439"/>
                <a:gd name="connsiteX31" fmla="*/ 0 w 223008"/>
                <a:gd name="connsiteY31" fmla="*/ 111720 h 223439"/>
                <a:gd name="connsiteX32" fmla="*/ 6390 w 223008"/>
                <a:gd name="connsiteY32" fmla="*/ 118104 h 223439"/>
                <a:gd name="connsiteX33" fmla="*/ 30033 w 223008"/>
                <a:gd name="connsiteY33" fmla="*/ 118104 h 223439"/>
                <a:gd name="connsiteX34" fmla="*/ 30033 w 223008"/>
                <a:gd name="connsiteY34" fmla="*/ 135340 h 223439"/>
                <a:gd name="connsiteX35" fmla="*/ 6390 w 223008"/>
                <a:gd name="connsiteY35" fmla="*/ 135340 h 223439"/>
                <a:gd name="connsiteX36" fmla="*/ 0 w 223008"/>
                <a:gd name="connsiteY36" fmla="*/ 141724 h 223439"/>
                <a:gd name="connsiteX37" fmla="*/ 6390 w 223008"/>
                <a:gd name="connsiteY37" fmla="*/ 148108 h 223439"/>
                <a:gd name="connsiteX38" fmla="*/ 30033 w 223008"/>
                <a:gd name="connsiteY38" fmla="*/ 148108 h 223439"/>
                <a:gd name="connsiteX39" fmla="*/ 30033 w 223008"/>
                <a:gd name="connsiteY39" fmla="*/ 187051 h 223439"/>
                <a:gd name="connsiteX40" fmla="*/ 36423 w 223008"/>
                <a:gd name="connsiteY40" fmla="*/ 193435 h 223439"/>
                <a:gd name="connsiteX41" fmla="*/ 74762 w 223008"/>
                <a:gd name="connsiteY41" fmla="*/ 193435 h 223439"/>
                <a:gd name="connsiteX42" fmla="*/ 74762 w 223008"/>
                <a:gd name="connsiteY42" fmla="*/ 217055 h 223439"/>
                <a:gd name="connsiteX43" fmla="*/ 81152 w 223008"/>
                <a:gd name="connsiteY43" fmla="*/ 223439 h 223439"/>
                <a:gd name="connsiteX44" fmla="*/ 87542 w 223008"/>
                <a:gd name="connsiteY44" fmla="*/ 217055 h 223439"/>
                <a:gd name="connsiteX45" fmla="*/ 87542 w 223008"/>
                <a:gd name="connsiteY45" fmla="*/ 193435 h 223439"/>
                <a:gd name="connsiteX46" fmla="*/ 104795 w 223008"/>
                <a:gd name="connsiteY46" fmla="*/ 193435 h 223439"/>
                <a:gd name="connsiteX47" fmla="*/ 104795 w 223008"/>
                <a:gd name="connsiteY47" fmla="*/ 217055 h 223439"/>
                <a:gd name="connsiteX48" fmla="*/ 111185 w 223008"/>
                <a:gd name="connsiteY48" fmla="*/ 223439 h 223439"/>
                <a:gd name="connsiteX49" fmla="*/ 117575 w 223008"/>
                <a:gd name="connsiteY49" fmla="*/ 217055 h 223439"/>
                <a:gd name="connsiteX50" fmla="*/ 117575 w 223008"/>
                <a:gd name="connsiteY50" fmla="*/ 193435 h 223439"/>
                <a:gd name="connsiteX51" fmla="*/ 134828 w 223008"/>
                <a:gd name="connsiteY51" fmla="*/ 193435 h 223439"/>
                <a:gd name="connsiteX52" fmla="*/ 134828 w 223008"/>
                <a:gd name="connsiteY52" fmla="*/ 217055 h 223439"/>
                <a:gd name="connsiteX53" fmla="*/ 141218 w 223008"/>
                <a:gd name="connsiteY53" fmla="*/ 223439 h 223439"/>
                <a:gd name="connsiteX54" fmla="*/ 147608 w 223008"/>
                <a:gd name="connsiteY54" fmla="*/ 217055 h 223439"/>
                <a:gd name="connsiteX55" fmla="*/ 147608 w 223008"/>
                <a:gd name="connsiteY55" fmla="*/ 193435 h 223439"/>
                <a:gd name="connsiteX56" fmla="*/ 185947 w 223008"/>
                <a:gd name="connsiteY56" fmla="*/ 193435 h 223439"/>
                <a:gd name="connsiteX57" fmla="*/ 192337 w 223008"/>
                <a:gd name="connsiteY57" fmla="*/ 187051 h 223439"/>
                <a:gd name="connsiteX58" fmla="*/ 192337 w 223008"/>
                <a:gd name="connsiteY58" fmla="*/ 148108 h 223439"/>
                <a:gd name="connsiteX59" fmla="*/ 216619 w 223008"/>
                <a:gd name="connsiteY59" fmla="*/ 148108 h 223439"/>
                <a:gd name="connsiteX60" fmla="*/ 223009 w 223008"/>
                <a:gd name="connsiteY60" fmla="*/ 141724 h 223439"/>
                <a:gd name="connsiteX61" fmla="*/ 216619 w 223008"/>
                <a:gd name="connsiteY61" fmla="*/ 135340 h 223439"/>
                <a:gd name="connsiteX62" fmla="*/ 192337 w 223008"/>
                <a:gd name="connsiteY62" fmla="*/ 135340 h 223439"/>
                <a:gd name="connsiteX63" fmla="*/ 192337 w 223008"/>
                <a:gd name="connsiteY63" fmla="*/ 118104 h 223439"/>
                <a:gd name="connsiteX64" fmla="*/ 216619 w 223008"/>
                <a:gd name="connsiteY64" fmla="*/ 118104 h 223439"/>
                <a:gd name="connsiteX65" fmla="*/ 223009 w 223008"/>
                <a:gd name="connsiteY65" fmla="*/ 111720 h 223439"/>
                <a:gd name="connsiteX66" fmla="*/ 216619 w 223008"/>
                <a:gd name="connsiteY66" fmla="*/ 105336 h 223439"/>
                <a:gd name="connsiteX67" fmla="*/ 192337 w 223008"/>
                <a:gd name="connsiteY67" fmla="*/ 105336 h 223439"/>
                <a:gd name="connsiteX68" fmla="*/ 192337 w 223008"/>
                <a:gd name="connsiteY68" fmla="*/ 88099 h 223439"/>
                <a:gd name="connsiteX69" fmla="*/ 192337 w 223008"/>
                <a:gd name="connsiteY69" fmla="*/ 88099 h 223439"/>
                <a:gd name="connsiteX70" fmla="*/ 179557 w 223008"/>
                <a:gd name="connsiteY70" fmla="*/ 180028 h 223439"/>
                <a:gd name="connsiteX71" fmla="*/ 42174 w 223008"/>
                <a:gd name="connsiteY71" fmla="*/ 180028 h 223439"/>
                <a:gd name="connsiteX72" fmla="*/ 42174 w 223008"/>
                <a:gd name="connsiteY72" fmla="*/ 42773 h 223439"/>
                <a:gd name="connsiteX73" fmla="*/ 179557 w 223008"/>
                <a:gd name="connsiteY73" fmla="*/ 42773 h 223439"/>
                <a:gd name="connsiteX74" fmla="*/ 179557 w 223008"/>
                <a:gd name="connsiteY74" fmla="*/ 180028 h 223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223008" h="223439">
                  <a:moveTo>
                    <a:pt x="192337" y="88099"/>
                  </a:moveTo>
                  <a:lnTo>
                    <a:pt x="215980" y="88099"/>
                  </a:lnTo>
                  <a:cubicBezTo>
                    <a:pt x="219814" y="88099"/>
                    <a:pt x="222370" y="85545"/>
                    <a:pt x="222370" y="81715"/>
                  </a:cubicBezTo>
                  <a:cubicBezTo>
                    <a:pt x="222370" y="77884"/>
                    <a:pt x="219814" y="75331"/>
                    <a:pt x="215980" y="75331"/>
                  </a:cubicBezTo>
                  <a:lnTo>
                    <a:pt x="191698" y="75331"/>
                  </a:lnTo>
                  <a:lnTo>
                    <a:pt x="191698" y="36389"/>
                  </a:lnTo>
                  <a:cubicBezTo>
                    <a:pt x="191698" y="32558"/>
                    <a:pt x="189142" y="30005"/>
                    <a:pt x="185308" y="30005"/>
                  </a:cubicBezTo>
                  <a:lnTo>
                    <a:pt x="146969" y="30005"/>
                  </a:lnTo>
                  <a:lnTo>
                    <a:pt x="146969" y="6384"/>
                  </a:lnTo>
                  <a:cubicBezTo>
                    <a:pt x="146969" y="2554"/>
                    <a:pt x="144413" y="0"/>
                    <a:pt x="140579" y="0"/>
                  </a:cubicBezTo>
                  <a:cubicBezTo>
                    <a:pt x="136745" y="0"/>
                    <a:pt x="134189" y="2554"/>
                    <a:pt x="134189" y="6384"/>
                  </a:cubicBezTo>
                  <a:lnTo>
                    <a:pt x="134189" y="30005"/>
                  </a:lnTo>
                  <a:lnTo>
                    <a:pt x="117575" y="30005"/>
                  </a:lnTo>
                  <a:lnTo>
                    <a:pt x="117575" y="6384"/>
                  </a:lnTo>
                  <a:cubicBezTo>
                    <a:pt x="117575" y="2554"/>
                    <a:pt x="115019" y="0"/>
                    <a:pt x="111185" y="0"/>
                  </a:cubicBezTo>
                  <a:cubicBezTo>
                    <a:pt x="107351" y="0"/>
                    <a:pt x="104795" y="2554"/>
                    <a:pt x="104795" y="6384"/>
                  </a:cubicBezTo>
                  <a:lnTo>
                    <a:pt x="104795" y="30005"/>
                  </a:lnTo>
                  <a:lnTo>
                    <a:pt x="87542" y="30005"/>
                  </a:lnTo>
                  <a:lnTo>
                    <a:pt x="87542" y="6384"/>
                  </a:lnTo>
                  <a:cubicBezTo>
                    <a:pt x="87542" y="2554"/>
                    <a:pt x="84986" y="0"/>
                    <a:pt x="81152" y="0"/>
                  </a:cubicBezTo>
                  <a:cubicBezTo>
                    <a:pt x="77318" y="0"/>
                    <a:pt x="74762" y="2554"/>
                    <a:pt x="74762" y="6384"/>
                  </a:cubicBezTo>
                  <a:lnTo>
                    <a:pt x="74762" y="30005"/>
                  </a:lnTo>
                  <a:lnTo>
                    <a:pt x="36423" y="30005"/>
                  </a:lnTo>
                  <a:cubicBezTo>
                    <a:pt x="32589" y="30005"/>
                    <a:pt x="30033" y="32558"/>
                    <a:pt x="30033" y="36389"/>
                  </a:cubicBezTo>
                  <a:lnTo>
                    <a:pt x="30033" y="75331"/>
                  </a:lnTo>
                  <a:lnTo>
                    <a:pt x="6390" y="75331"/>
                  </a:lnTo>
                  <a:cubicBezTo>
                    <a:pt x="2556" y="75331"/>
                    <a:pt x="0" y="77884"/>
                    <a:pt x="0" y="81715"/>
                  </a:cubicBezTo>
                  <a:cubicBezTo>
                    <a:pt x="0" y="85545"/>
                    <a:pt x="2556" y="88099"/>
                    <a:pt x="6390" y="88099"/>
                  </a:cubicBezTo>
                  <a:lnTo>
                    <a:pt x="30033" y="88099"/>
                  </a:lnTo>
                  <a:lnTo>
                    <a:pt x="30033" y="105336"/>
                  </a:lnTo>
                  <a:lnTo>
                    <a:pt x="6390" y="105336"/>
                  </a:lnTo>
                  <a:cubicBezTo>
                    <a:pt x="2556" y="105336"/>
                    <a:pt x="0" y="107889"/>
                    <a:pt x="0" y="111720"/>
                  </a:cubicBezTo>
                  <a:cubicBezTo>
                    <a:pt x="0" y="115550"/>
                    <a:pt x="2556" y="118104"/>
                    <a:pt x="6390" y="118104"/>
                  </a:cubicBezTo>
                  <a:lnTo>
                    <a:pt x="30033" y="118104"/>
                  </a:lnTo>
                  <a:lnTo>
                    <a:pt x="30033" y="135340"/>
                  </a:lnTo>
                  <a:lnTo>
                    <a:pt x="6390" y="135340"/>
                  </a:lnTo>
                  <a:cubicBezTo>
                    <a:pt x="2556" y="135340"/>
                    <a:pt x="0" y="137894"/>
                    <a:pt x="0" y="141724"/>
                  </a:cubicBezTo>
                  <a:cubicBezTo>
                    <a:pt x="0" y="145555"/>
                    <a:pt x="2556" y="148108"/>
                    <a:pt x="6390" y="148108"/>
                  </a:cubicBezTo>
                  <a:lnTo>
                    <a:pt x="30033" y="148108"/>
                  </a:lnTo>
                  <a:lnTo>
                    <a:pt x="30033" y="187051"/>
                  </a:lnTo>
                  <a:cubicBezTo>
                    <a:pt x="30033" y="190881"/>
                    <a:pt x="32589" y="193435"/>
                    <a:pt x="36423" y="193435"/>
                  </a:cubicBezTo>
                  <a:lnTo>
                    <a:pt x="74762" y="193435"/>
                  </a:lnTo>
                  <a:lnTo>
                    <a:pt x="74762" y="217055"/>
                  </a:lnTo>
                  <a:cubicBezTo>
                    <a:pt x="74762" y="220886"/>
                    <a:pt x="77318" y="223439"/>
                    <a:pt x="81152" y="223439"/>
                  </a:cubicBezTo>
                  <a:cubicBezTo>
                    <a:pt x="84986" y="223439"/>
                    <a:pt x="87542" y="220886"/>
                    <a:pt x="87542" y="217055"/>
                  </a:cubicBezTo>
                  <a:lnTo>
                    <a:pt x="87542" y="193435"/>
                  </a:lnTo>
                  <a:lnTo>
                    <a:pt x="104795" y="193435"/>
                  </a:lnTo>
                  <a:lnTo>
                    <a:pt x="104795" y="217055"/>
                  </a:lnTo>
                  <a:cubicBezTo>
                    <a:pt x="104795" y="220886"/>
                    <a:pt x="107351" y="223439"/>
                    <a:pt x="111185" y="223439"/>
                  </a:cubicBezTo>
                  <a:cubicBezTo>
                    <a:pt x="115019" y="223439"/>
                    <a:pt x="117575" y="220886"/>
                    <a:pt x="117575" y="217055"/>
                  </a:cubicBezTo>
                  <a:lnTo>
                    <a:pt x="117575" y="193435"/>
                  </a:lnTo>
                  <a:lnTo>
                    <a:pt x="134828" y="193435"/>
                  </a:lnTo>
                  <a:lnTo>
                    <a:pt x="134828" y="217055"/>
                  </a:lnTo>
                  <a:cubicBezTo>
                    <a:pt x="134828" y="220886"/>
                    <a:pt x="137384" y="223439"/>
                    <a:pt x="141218" y="223439"/>
                  </a:cubicBezTo>
                  <a:cubicBezTo>
                    <a:pt x="145052" y="223439"/>
                    <a:pt x="147608" y="220886"/>
                    <a:pt x="147608" y="217055"/>
                  </a:cubicBezTo>
                  <a:lnTo>
                    <a:pt x="147608" y="193435"/>
                  </a:lnTo>
                  <a:lnTo>
                    <a:pt x="185947" y="193435"/>
                  </a:lnTo>
                  <a:cubicBezTo>
                    <a:pt x="189781" y="193435"/>
                    <a:pt x="192337" y="190881"/>
                    <a:pt x="192337" y="187051"/>
                  </a:cubicBezTo>
                  <a:lnTo>
                    <a:pt x="192337" y="148108"/>
                  </a:lnTo>
                  <a:lnTo>
                    <a:pt x="216619" y="148108"/>
                  </a:lnTo>
                  <a:cubicBezTo>
                    <a:pt x="220453" y="148108"/>
                    <a:pt x="223009" y="145555"/>
                    <a:pt x="223009" y="141724"/>
                  </a:cubicBezTo>
                  <a:cubicBezTo>
                    <a:pt x="223009" y="137894"/>
                    <a:pt x="220453" y="135340"/>
                    <a:pt x="216619" y="135340"/>
                  </a:cubicBezTo>
                  <a:lnTo>
                    <a:pt x="192337" y="135340"/>
                  </a:lnTo>
                  <a:lnTo>
                    <a:pt x="192337" y="118104"/>
                  </a:lnTo>
                  <a:lnTo>
                    <a:pt x="216619" y="118104"/>
                  </a:lnTo>
                  <a:cubicBezTo>
                    <a:pt x="220453" y="118104"/>
                    <a:pt x="223009" y="115550"/>
                    <a:pt x="223009" y="111720"/>
                  </a:cubicBezTo>
                  <a:cubicBezTo>
                    <a:pt x="223009" y="107889"/>
                    <a:pt x="220453" y="105336"/>
                    <a:pt x="216619" y="105336"/>
                  </a:cubicBezTo>
                  <a:lnTo>
                    <a:pt x="192337" y="105336"/>
                  </a:lnTo>
                  <a:lnTo>
                    <a:pt x="192337" y="88099"/>
                  </a:lnTo>
                  <a:lnTo>
                    <a:pt x="192337" y="88099"/>
                  </a:lnTo>
                  <a:close/>
                  <a:moveTo>
                    <a:pt x="179557" y="180028"/>
                  </a:moveTo>
                  <a:lnTo>
                    <a:pt x="42174" y="180028"/>
                  </a:lnTo>
                  <a:lnTo>
                    <a:pt x="42174" y="42773"/>
                  </a:lnTo>
                  <a:lnTo>
                    <a:pt x="179557" y="42773"/>
                  </a:lnTo>
                  <a:lnTo>
                    <a:pt x="179557" y="18002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Graphic 4">
              <a:extLst>
                <a:ext uri="{FF2B5EF4-FFF2-40B4-BE49-F238E27FC236}">
                  <a16:creationId xmlns:a16="http://schemas.microsoft.com/office/drawing/2014/main" id="{9BFDD016-E0C8-05BC-8E07-451704ADC5BE}"/>
                </a:ext>
              </a:extLst>
            </p:cNvPr>
            <p:cNvSpPr/>
            <p:nvPr/>
          </p:nvSpPr>
          <p:spPr>
            <a:xfrm>
              <a:off x="3760477" y="2517313"/>
              <a:ext cx="49202" cy="69000"/>
            </a:xfrm>
            <a:custGeom>
              <a:avLst/>
              <a:gdLst>
                <a:gd name="connsiteX0" fmla="*/ 42813 w 49202"/>
                <a:gd name="connsiteY0" fmla="*/ 56233 h 69000"/>
                <a:gd name="connsiteX1" fmla="*/ 21087 w 49202"/>
                <a:gd name="connsiteY1" fmla="*/ 56233 h 69000"/>
                <a:gd name="connsiteX2" fmla="*/ 25560 w 49202"/>
                <a:gd name="connsiteY2" fmla="*/ 40911 h 69000"/>
                <a:gd name="connsiteX3" fmla="*/ 30672 w 49202"/>
                <a:gd name="connsiteY3" fmla="*/ 40911 h 69000"/>
                <a:gd name="connsiteX4" fmla="*/ 37062 w 49202"/>
                <a:gd name="connsiteY4" fmla="*/ 34527 h 69000"/>
                <a:gd name="connsiteX5" fmla="*/ 30672 w 49202"/>
                <a:gd name="connsiteY5" fmla="*/ 28143 h 69000"/>
                <a:gd name="connsiteX6" fmla="*/ 20448 w 49202"/>
                <a:gd name="connsiteY6" fmla="*/ 28143 h 69000"/>
                <a:gd name="connsiteX7" fmla="*/ 18531 w 49202"/>
                <a:gd name="connsiteY7" fmla="*/ 25590 h 69000"/>
                <a:gd name="connsiteX8" fmla="*/ 17892 w 49202"/>
                <a:gd name="connsiteY8" fmla="*/ 17929 h 69000"/>
                <a:gd name="connsiteX9" fmla="*/ 26199 w 49202"/>
                <a:gd name="connsiteY9" fmla="*/ 12822 h 69000"/>
                <a:gd name="connsiteX10" fmla="*/ 35783 w 49202"/>
                <a:gd name="connsiteY10" fmla="*/ 21121 h 69000"/>
                <a:gd name="connsiteX11" fmla="*/ 35783 w 49202"/>
                <a:gd name="connsiteY11" fmla="*/ 22398 h 69000"/>
                <a:gd name="connsiteX12" fmla="*/ 42173 w 49202"/>
                <a:gd name="connsiteY12" fmla="*/ 28782 h 69000"/>
                <a:gd name="connsiteX13" fmla="*/ 48563 w 49202"/>
                <a:gd name="connsiteY13" fmla="*/ 22398 h 69000"/>
                <a:gd name="connsiteX14" fmla="*/ 26838 w 49202"/>
                <a:gd name="connsiteY14" fmla="*/ 54 h 69000"/>
                <a:gd name="connsiteX15" fmla="*/ 26199 w 49202"/>
                <a:gd name="connsiteY15" fmla="*/ 54 h 69000"/>
                <a:gd name="connsiteX16" fmla="*/ 5751 w 49202"/>
                <a:gd name="connsiteY16" fmla="*/ 12822 h 69000"/>
                <a:gd name="connsiteX17" fmla="*/ 5112 w 49202"/>
                <a:gd name="connsiteY17" fmla="*/ 28143 h 69000"/>
                <a:gd name="connsiteX18" fmla="*/ 0 w 49202"/>
                <a:gd name="connsiteY18" fmla="*/ 34527 h 69000"/>
                <a:gd name="connsiteX19" fmla="*/ 6390 w 49202"/>
                <a:gd name="connsiteY19" fmla="*/ 40911 h 69000"/>
                <a:gd name="connsiteX20" fmla="*/ 12780 w 49202"/>
                <a:gd name="connsiteY20" fmla="*/ 40911 h 69000"/>
                <a:gd name="connsiteX21" fmla="*/ 3834 w 49202"/>
                <a:gd name="connsiteY21" fmla="*/ 58786 h 69000"/>
                <a:gd name="connsiteX22" fmla="*/ 3195 w 49202"/>
                <a:gd name="connsiteY22" fmla="*/ 65170 h 69000"/>
                <a:gd name="connsiteX23" fmla="*/ 8946 w 49202"/>
                <a:gd name="connsiteY23" fmla="*/ 69001 h 69000"/>
                <a:gd name="connsiteX24" fmla="*/ 42813 w 49202"/>
                <a:gd name="connsiteY24" fmla="*/ 69001 h 69000"/>
                <a:gd name="connsiteX25" fmla="*/ 49203 w 49202"/>
                <a:gd name="connsiteY25" fmla="*/ 62617 h 69000"/>
                <a:gd name="connsiteX26" fmla="*/ 42813 w 49202"/>
                <a:gd name="connsiteY26" fmla="*/ 56233 h 69000"/>
                <a:gd name="connsiteX27" fmla="*/ 42813 w 49202"/>
                <a:gd name="connsiteY27" fmla="*/ 56233 h 6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202" h="69000">
                  <a:moveTo>
                    <a:pt x="42813" y="56233"/>
                  </a:moveTo>
                  <a:lnTo>
                    <a:pt x="21087" y="56233"/>
                  </a:lnTo>
                  <a:cubicBezTo>
                    <a:pt x="24282" y="51764"/>
                    <a:pt x="25560" y="46657"/>
                    <a:pt x="25560" y="40911"/>
                  </a:cubicBezTo>
                  <a:lnTo>
                    <a:pt x="30672" y="40911"/>
                  </a:lnTo>
                  <a:cubicBezTo>
                    <a:pt x="34506" y="40911"/>
                    <a:pt x="37062" y="38358"/>
                    <a:pt x="37062" y="34527"/>
                  </a:cubicBezTo>
                  <a:cubicBezTo>
                    <a:pt x="37062" y="30697"/>
                    <a:pt x="34506" y="28143"/>
                    <a:pt x="30672" y="28143"/>
                  </a:cubicBezTo>
                  <a:lnTo>
                    <a:pt x="20448" y="28143"/>
                  </a:lnTo>
                  <a:cubicBezTo>
                    <a:pt x="19809" y="27505"/>
                    <a:pt x="19170" y="26866"/>
                    <a:pt x="18531" y="25590"/>
                  </a:cubicBezTo>
                  <a:cubicBezTo>
                    <a:pt x="16614" y="23674"/>
                    <a:pt x="16614" y="20482"/>
                    <a:pt x="17892" y="17929"/>
                  </a:cubicBezTo>
                  <a:cubicBezTo>
                    <a:pt x="19170" y="14737"/>
                    <a:pt x="23004" y="12822"/>
                    <a:pt x="26199" y="12822"/>
                  </a:cubicBezTo>
                  <a:cubicBezTo>
                    <a:pt x="31311" y="12183"/>
                    <a:pt x="35783" y="16014"/>
                    <a:pt x="35783" y="21121"/>
                  </a:cubicBezTo>
                  <a:cubicBezTo>
                    <a:pt x="35783" y="21759"/>
                    <a:pt x="35783" y="21759"/>
                    <a:pt x="35783" y="22398"/>
                  </a:cubicBezTo>
                  <a:cubicBezTo>
                    <a:pt x="35783" y="26228"/>
                    <a:pt x="38340" y="28782"/>
                    <a:pt x="42173" y="28782"/>
                  </a:cubicBezTo>
                  <a:cubicBezTo>
                    <a:pt x="46008" y="28782"/>
                    <a:pt x="48563" y="26228"/>
                    <a:pt x="48563" y="22398"/>
                  </a:cubicBezTo>
                  <a:cubicBezTo>
                    <a:pt x="48563" y="10268"/>
                    <a:pt x="38978" y="54"/>
                    <a:pt x="26838" y="54"/>
                  </a:cubicBezTo>
                  <a:cubicBezTo>
                    <a:pt x="26838" y="54"/>
                    <a:pt x="26199" y="54"/>
                    <a:pt x="26199" y="54"/>
                  </a:cubicBezTo>
                  <a:cubicBezTo>
                    <a:pt x="17253" y="-585"/>
                    <a:pt x="8946" y="4522"/>
                    <a:pt x="5751" y="12822"/>
                  </a:cubicBezTo>
                  <a:cubicBezTo>
                    <a:pt x="3834" y="17929"/>
                    <a:pt x="3195" y="23036"/>
                    <a:pt x="5112" y="28143"/>
                  </a:cubicBezTo>
                  <a:cubicBezTo>
                    <a:pt x="1917" y="28782"/>
                    <a:pt x="0" y="31335"/>
                    <a:pt x="0" y="34527"/>
                  </a:cubicBezTo>
                  <a:cubicBezTo>
                    <a:pt x="0" y="38358"/>
                    <a:pt x="2556" y="40911"/>
                    <a:pt x="6390" y="40911"/>
                  </a:cubicBezTo>
                  <a:lnTo>
                    <a:pt x="12780" y="40911"/>
                  </a:lnTo>
                  <a:cubicBezTo>
                    <a:pt x="12780" y="44103"/>
                    <a:pt x="10863" y="49849"/>
                    <a:pt x="3834" y="58786"/>
                  </a:cubicBezTo>
                  <a:cubicBezTo>
                    <a:pt x="2556" y="60701"/>
                    <a:pt x="1917" y="63255"/>
                    <a:pt x="3195" y="65170"/>
                  </a:cubicBezTo>
                  <a:cubicBezTo>
                    <a:pt x="4473" y="67085"/>
                    <a:pt x="6390" y="69001"/>
                    <a:pt x="8946" y="69001"/>
                  </a:cubicBezTo>
                  <a:lnTo>
                    <a:pt x="42813" y="69001"/>
                  </a:lnTo>
                  <a:cubicBezTo>
                    <a:pt x="46646" y="69001"/>
                    <a:pt x="49203" y="66447"/>
                    <a:pt x="49203" y="62617"/>
                  </a:cubicBezTo>
                  <a:cubicBezTo>
                    <a:pt x="49203" y="58786"/>
                    <a:pt x="46646" y="56871"/>
                    <a:pt x="42813" y="56233"/>
                  </a:cubicBezTo>
                  <a:lnTo>
                    <a:pt x="42813" y="5623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" name="Graphic 4">
            <a:extLst>
              <a:ext uri="{FF2B5EF4-FFF2-40B4-BE49-F238E27FC236}">
                <a16:creationId xmlns:a16="http://schemas.microsoft.com/office/drawing/2014/main" id="{887E42FF-523B-4839-6DC8-F606FCA0FB40}"/>
              </a:ext>
            </a:extLst>
          </p:cNvPr>
          <p:cNvGrpSpPr/>
          <p:nvPr/>
        </p:nvGrpSpPr>
        <p:grpSpPr>
          <a:xfrm>
            <a:off x="7060159" y="4963465"/>
            <a:ext cx="719935" cy="712448"/>
            <a:chOff x="6754802" y="2855717"/>
            <a:chExt cx="361670" cy="361333"/>
          </a:xfrm>
          <a:solidFill>
            <a:schemeClr val="bg1"/>
          </a:solidFill>
        </p:grpSpPr>
        <p:sp>
          <p:nvSpPr>
            <p:cNvPr id="22" name="Graphic 4">
              <a:extLst>
                <a:ext uri="{FF2B5EF4-FFF2-40B4-BE49-F238E27FC236}">
                  <a16:creationId xmlns:a16="http://schemas.microsoft.com/office/drawing/2014/main" id="{63B35D17-66E9-58BD-122D-21497354896A}"/>
                </a:ext>
              </a:extLst>
            </p:cNvPr>
            <p:cNvSpPr/>
            <p:nvPr/>
          </p:nvSpPr>
          <p:spPr>
            <a:xfrm>
              <a:off x="6754802" y="2855717"/>
              <a:ext cx="361670" cy="361333"/>
            </a:xfrm>
            <a:custGeom>
              <a:avLst/>
              <a:gdLst>
                <a:gd name="connsiteX0" fmla="*/ 180836 w 361670"/>
                <a:gd name="connsiteY0" fmla="*/ 0 h 361333"/>
                <a:gd name="connsiteX1" fmla="*/ 0 w 361670"/>
                <a:gd name="connsiteY1" fmla="*/ 180667 h 361333"/>
                <a:gd name="connsiteX2" fmla="*/ 180836 w 361670"/>
                <a:gd name="connsiteY2" fmla="*/ 361333 h 361333"/>
                <a:gd name="connsiteX3" fmla="*/ 361670 w 361670"/>
                <a:gd name="connsiteY3" fmla="*/ 180667 h 361333"/>
                <a:gd name="connsiteX4" fmla="*/ 180836 w 361670"/>
                <a:gd name="connsiteY4" fmla="*/ 0 h 361333"/>
                <a:gd name="connsiteX5" fmla="*/ 180836 w 361670"/>
                <a:gd name="connsiteY5" fmla="*/ 349204 h 361333"/>
                <a:gd name="connsiteX6" fmla="*/ 12780 w 361670"/>
                <a:gd name="connsiteY6" fmla="*/ 181305 h 361333"/>
                <a:gd name="connsiteX7" fmla="*/ 180836 w 361670"/>
                <a:gd name="connsiteY7" fmla="*/ 13406 h 361333"/>
                <a:gd name="connsiteX8" fmla="*/ 348890 w 361670"/>
                <a:gd name="connsiteY8" fmla="*/ 181305 h 361333"/>
                <a:gd name="connsiteX9" fmla="*/ 180836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6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3" y="361333"/>
                    <a:pt x="180836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1670" y="80438"/>
                    <a:pt x="280518" y="0"/>
                    <a:pt x="180836" y="0"/>
                  </a:cubicBezTo>
                  <a:close/>
                  <a:moveTo>
                    <a:pt x="180836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6" y="13406"/>
                  </a:cubicBezTo>
                  <a:cubicBezTo>
                    <a:pt x="273490" y="13406"/>
                    <a:pt x="348890" y="88737"/>
                    <a:pt x="348890" y="181305"/>
                  </a:cubicBezTo>
                  <a:cubicBezTo>
                    <a:pt x="348890" y="273234"/>
                    <a:pt x="273490" y="349204"/>
                    <a:pt x="180836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Graphic 4">
              <a:extLst>
                <a:ext uri="{FF2B5EF4-FFF2-40B4-BE49-F238E27FC236}">
                  <a16:creationId xmlns:a16="http://schemas.microsoft.com/office/drawing/2014/main" id="{1FF8678B-5229-E9D0-5FAE-1060A8C70EB8}"/>
                </a:ext>
              </a:extLst>
            </p:cNvPr>
            <p:cNvSpPr/>
            <p:nvPr/>
          </p:nvSpPr>
          <p:spPr>
            <a:xfrm>
              <a:off x="6834676" y="2943178"/>
              <a:ext cx="201283" cy="186412"/>
            </a:xfrm>
            <a:custGeom>
              <a:avLst/>
              <a:gdLst>
                <a:gd name="connsiteX0" fmla="*/ 194893 w 201283"/>
                <a:gd name="connsiteY0" fmla="*/ 0 h 186412"/>
                <a:gd name="connsiteX1" fmla="*/ 188503 w 201283"/>
                <a:gd name="connsiteY1" fmla="*/ 6384 h 186412"/>
                <a:gd name="connsiteX2" fmla="*/ 188503 w 201283"/>
                <a:gd name="connsiteY2" fmla="*/ 81715 h 186412"/>
                <a:gd name="connsiteX3" fmla="*/ 86264 w 201283"/>
                <a:gd name="connsiteY3" fmla="*/ 17875 h 186412"/>
                <a:gd name="connsiteX4" fmla="*/ 79874 w 201283"/>
                <a:gd name="connsiteY4" fmla="*/ 17875 h 186412"/>
                <a:gd name="connsiteX5" fmla="*/ 76679 w 201283"/>
                <a:gd name="connsiteY5" fmla="*/ 23621 h 186412"/>
                <a:gd name="connsiteX6" fmla="*/ 76679 w 201283"/>
                <a:gd name="connsiteY6" fmla="*/ 60009 h 186412"/>
                <a:gd name="connsiteX7" fmla="*/ 9585 w 201283"/>
                <a:gd name="connsiteY7" fmla="*/ 17875 h 186412"/>
                <a:gd name="connsiteX8" fmla="*/ 3195 w 201283"/>
                <a:gd name="connsiteY8" fmla="*/ 17875 h 186412"/>
                <a:gd name="connsiteX9" fmla="*/ 0 w 201283"/>
                <a:gd name="connsiteY9" fmla="*/ 23621 h 186412"/>
                <a:gd name="connsiteX10" fmla="*/ 0 w 201283"/>
                <a:gd name="connsiteY10" fmla="*/ 163430 h 186412"/>
                <a:gd name="connsiteX11" fmla="*/ 3195 w 201283"/>
                <a:gd name="connsiteY11" fmla="*/ 169176 h 186412"/>
                <a:gd name="connsiteX12" fmla="*/ 6390 w 201283"/>
                <a:gd name="connsiteY12" fmla="*/ 169814 h 186412"/>
                <a:gd name="connsiteX13" fmla="*/ 9585 w 201283"/>
                <a:gd name="connsiteY13" fmla="*/ 168537 h 186412"/>
                <a:gd name="connsiteX14" fmla="*/ 76679 w 201283"/>
                <a:gd name="connsiteY14" fmla="*/ 126403 h 186412"/>
                <a:gd name="connsiteX15" fmla="*/ 76679 w 201283"/>
                <a:gd name="connsiteY15" fmla="*/ 162792 h 186412"/>
                <a:gd name="connsiteX16" fmla="*/ 79874 w 201283"/>
                <a:gd name="connsiteY16" fmla="*/ 168537 h 186412"/>
                <a:gd name="connsiteX17" fmla="*/ 86264 w 201283"/>
                <a:gd name="connsiteY17" fmla="*/ 168537 h 186412"/>
                <a:gd name="connsiteX18" fmla="*/ 188503 w 201283"/>
                <a:gd name="connsiteY18" fmla="*/ 104697 h 186412"/>
                <a:gd name="connsiteX19" fmla="*/ 188503 w 201283"/>
                <a:gd name="connsiteY19" fmla="*/ 180028 h 186412"/>
                <a:gd name="connsiteX20" fmla="*/ 194893 w 201283"/>
                <a:gd name="connsiteY20" fmla="*/ 186412 h 186412"/>
                <a:gd name="connsiteX21" fmla="*/ 201283 w 201283"/>
                <a:gd name="connsiteY21" fmla="*/ 180028 h 186412"/>
                <a:gd name="connsiteX22" fmla="*/ 201283 w 201283"/>
                <a:gd name="connsiteY22" fmla="*/ 7022 h 186412"/>
                <a:gd name="connsiteX23" fmla="*/ 194893 w 201283"/>
                <a:gd name="connsiteY23" fmla="*/ 0 h 186412"/>
                <a:gd name="connsiteX24" fmla="*/ 89459 w 201283"/>
                <a:gd name="connsiteY24" fmla="*/ 151300 h 186412"/>
                <a:gd name="connsiteX25" fmla="*/ 89459 w 201283"/>
                <a:gd name="connsiteY25" fmla="*/ 114912 h 186412"/>
                <a:gd name="connsiteX26" fmla="*/ 86264 w 201283"/>
                <a:gd name="connsiteY26" fmla="*/ 109166 h 186412"/>
                <a:gd name="connsiteX27" fmla="*/ 79874 w 201283"/>
                <a:gd name="connsiteY27" fmla="*/ 109166 h 186412"/>
                <a:gd name="connsiteX28" fmla="*/ 12780 w 201283"/>
                <a:gd name="connsiteY28" fmla="*/ 151300 h 186412"/>
                <a:gd name="connsiteX29" fmla="*/ 12780 w 201283"/>
                <a:gd name="connsiteY29" fmla="*/ 34473 h 186412"/>
                <a:gd name="connsiteX30" fmla="*/ 79874 w 201283"/>
                <a:gd name="connsiteY30" fmla="*/ 76608 h 186412"/>
                <a:gd name="connsiteX31" fmla="*/ 86264 w 201283"/>
                <a:gd name="connsiteY31" fmla="*/ 76608 h 186412"/>
                <a:gd name="connsiteX32" fmla="*/ 89459 w 201283"/>
                <a:gd name="connsiteY32" fmla="*/ 70862 h 186412"/>
                <a:gd name="connsiteX33" fmla="*/ 89459 w 201283"/>
                <a:gd name="connsiteY33" fmla="*/ 34473 h 186412"/>
                <a:gd name="connsiteX34" fmla="*/ 182752 w 201283"/>
                <a:gd name="connsiteY34" fmla="*/ 92568 h 186412"/>
                <a:gd name="connsiteX35" fmla="*/ 89459 w 201283"/>
                <a:gd name="connsiteY35" fmla="*/ 151300 h 18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01283" h="186412">
                  <a:moveTo>
                    <a:pt x="194893" y="0"/>
                  </a:moveTo>
                  <a:cubicBezTo>
                    <a:pt x="191059" y="0"/>
                    <a:pt x="188503" y="2554"/>
                    <a:pt x="188503" y="6384"/>
                  </a:cubicBezTo>
                  <a:lnTo>
                    <a:pt x="188503" y="81715"/>
                  </a:lnTo>
                  <a:lnTo>
                    <a:pt x="86264" y="17875"/>
                  </a:lnTo>
                  <a:cubicBezTo>
                    <a:pt x="84348" y="16598"/>
                    <a:pt x="81792" y="16598"/>
                    <a:pt x="79874" y="17875"/>
                  </a:cubicBezTo>
                  <a:cubicBezTo>
                    <a:pt x="77958" y="19152"/>
                    <a:pt x="76679" y="21067"/>
                    <a:pt x="76679" y="23621"/>
                  </a:cubicBezTo>
                  <a:lnTo>
                    <a:pt x="76679" y="60009"/>
                  </a:lnTo>
                  <a:lnTo>
                    <a:pt x="9585" y="17875"/>
                  </a:lnTo>
                  <a:cubicBezTo>
                    <a:pt x="7668" y="16598"/>
                    <a:pt x="5112" y="16598"/>
                    <a:pt x="3195" y="17875"/>
                  </a:cubicBezTo>
                  <a:cubicBezTo>
                    <a:pt x="1278" y="19152"/>
                    <a:pt x="0" y="21067"/>
                    <a:pt x="0" y="23621"/>
                  </a:cubicBezTo>
                  <a:lnTo>
                    <a:pt x="0" y="163430"/>
                  </a:lnTo>
                  <a:cubicBezTo>
                    <a:pt x="0" y="165984"/>
                    <a:pt x="1278" y="167899"/>
                    <a:pt x="3195" y="169176"/>
                  </a:cubicBezTo>
                  <a:cubicBezTo>
                    <a:pt x="4473" y="169814"/>
                    <a:pt x="5112" y="169814"/>
                    <a:pt x="6390" y="169814"/>
                  </a:cubicBezTo>
                  <a:cubicBezTo>
                    <a:pt x="7668" y="169814"/>
                    <a:pt x="8946" y="169176"/>
                    <a:pt x="9585" y="168537"/>
                  </a:cubicBezTo>
                  <a:lnTo>
                    <a:pt x="76679" y="126403"/>
                  </a:lnTo>
                  <a:lnTo>
                    <a:pt x="76679" y="162792"/>
                  </a:lnTo>
                  <a:cubicBezTo>
                    <a:pt x="76679" y="165345"/>
                    <a:pt x="77958" y="167260"/>
                    <a:pt x="79874" y="168537"/>
                  </a:cubicBezTo>
                  <a:cubicBezTo>
                    <a:pt x="81792" y="169814"/>
                    <a:pt x="84348" y="169814"/>
                    <a:pt x="86264" y="168537"/>
                  </a:cubicBezTo>
                  <a:lnTo>
                    <a:pt x="188503" y="104697"/>
                  </a:lnTo>
                  <a:lnTo>
                    <a:pt x="188503" y="180028"/>
                  </a:lnTo>
                  <a:cubicBezTo>
                    <a:pt x="188503" y="183859"/>
                    <a:pt x="191059" y="186412"/>
                    <a:pt x="194893" y="186412"/>
                  </a:cubicBezTo>
                  <a:cubicBezTo>
                    <a:pt x="198727" y="186412"/>
                    <a:pt x="201283" y="183859"/>
                    <a:pt x="201283" y="180028"/>
                  </a:cubicBezTo>
                  <a:lnTo>
                    <a:pt x="201283" y="7022"/>
                  </a:lnTo>
                  <a:cubicBezTo>
                    <a:pt x="201283" y="3192"/>
                    <a:pt x="198727" y="0"/>
                    <a:pt x="194893" y="0"/>
                  </a:cubicBezTo>
                  <a:close/>
                  <a:moveTo>
                    <a:pt x="89459" y="151300"/>
                  </a:moveTo>
                  <a:lnTo>
                    <a:pt x="89459" y="114912"/>
                  </a:lnTo>
                  <a:cubicBezTo>
                    <a:pt x="89459" y="112358"/>
                    <a:pt x="88181" y="110443"/>
                    <a:pt x="86264" y="109166"/>
                  </a:cubicBezTo>
                  <a:cubicBezTo>
                    <a:pt x="84348" y="107889"/>
                    <a:pt x="81792" y="107889"/>
                    <a:pt x="79874" y="109166"/>
                  </a:cubicBezTo>
                  <a:lnTo>
                    <a:pt x="12780" y="151300"/>
                  </a:lnTo>
                  <a:lnTo>
                    <a:pt x="12780" y="34473"/>
                  </a:lnTo>
                  <a:lnTo>
                    <a:pt x="79874" y="76608"/>
                  </a:lnTo>
                  <a:cubicBezTo>
                    <a:pt x="81792" y="77885"/>
                    <a:pt x="84348" y="77885"/>
                    <a:pt x="86264" y="76608"/>
                  </a:cubicBezTo>
                  <a:cubicBezTo>
                    <a:pt x="88181" y="75331"/>
                    <a:pt x="89459" y="73416"/>
                    <a:pt x="89459" y="70862"/>
                  </a:cubicBezTo>
                  <a:lnTo>
                    <a:pt x="89459" y="34473"/>
                  </a:lnTo>
                  <a:lnTo>
                    <a:pt x="182752" y="92568"/>
                  </a:lnTo>
                  <a:lnTo>
                    <a:pt x="89459" y="15130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1910933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9108-Presentation_16x9_Timesaver_PPT_Jan2022 (1).pptx" id="{6BF7DA49-D6F5-4F19-AAC6-7DC45F3A1CD9}" vid="{84C4D3F8-1E44-46A9-99C4-7045F60941A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-Timesaver</Template>
  <TotalTime>212</TotalTime>
  <Words>230</Words>
  <Application>Microsoft Office PowerPoint</Application>
  <PresentationFormat>Widescreen</PresentationFormat>
  <Paragraphs>23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Verdana</vt:lpstr>
      <vt:lpstr>Deloitte Brand Theme</vt:lpstr>
      <vt:lpstr>think-cell Slide</vt:lpstr>
      <vt:lpstr>Statement of Interest Generator | Capstone Project</vt:lpstr>
      <vt:lpstr>Statement of Interest Generato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ement of Interest Generator | Capstone Project</dc:title>
  <dc:creator>McLennan, Ian</dc:creator>
  <cp:lastModifiedBy>McLennan, Ian</cp:lastModifiedBy>
  <cp:revision>2</cp:revision>
  <dcterms:created xsi:type="dcterms:W3CDTF">2023-11-15T17:59:52Z</dcterms:created>
  <dcterms:modified xsi:type="dcterms:W3CDTF">2023-11-15T21:3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2-15T16:19:1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3415186a-2cc8-454a-80c2-1b89340bbe69</vt:lpwstr>
  </property>
  <property fmtid="{D5CDD505-2E9C-101B-9397-08002B2CF9AE}" pid="8" name="MSIP_Label_ea60d57e-af5b-4752-ac57-3e4f28ca11dc_ContentBits">
    <vt:lpwstr>0</vt:lpwstr>
  </property>
</Properties>
</file>